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3"/>
  </p:notesMasterIdLst>
  <p:handoutMasterIdLst>
    <p:handoutMasterId r:id="rId34"/>
  </p:handoutMasterIdLst>
  <p:sldIdLst>
    <p:sldId id="2147140411" r:id="rId5"/>
    <p:sldId id="2147140511" r:id="rId6"/>
    <p:sldId id="2147140525" r:id="rId7"/>
    <p:sldId id="2147140421" r:id="rId8"/>
    <p:sldId id="2147140425" r:id="rId9"/>
    <p:sldId id="2147140484" r:id="rId10"/>
    <p:sldId id="2147140485" r:id="rId11"/>
    <p:sldId id="2147140506" r:id="rId12"/>
    <p:sldId id="2147140509" r:id="rId13"/>
    <p:sldId id="2147140489" r:id="rId14"/>
    <p:sldId id="2147140497" r:id="rId15"/>
    <p:sldId id="2147140510" r:id="rId16"/>
    <p:sldId id="2147140490" r:id="rId17"/>
    <p:sldId id="2147140524" r:id="rId18"/>
    <p:sldId id="2147140513" r:id="rId19"/>
    <p:sldId id="2147140514" r:id="rId20"/>
    <p:sldId id="2147140515" r:id="rId21"/>
    <p:sldId id="2147140516" r:id="rId22"/>
    <p:sldId id="2147140517" r:id="rId23"/>
    <p:sldId id="2147140518" r:id="rId24"/>
    <p:sldId id="2147140520" r:id="rId25"/>
    <p:sldId id="2147140519" r:id="rId26"/>
    <p:sldId id="2147140448" r:id="rId27"/>
    <p:sldId id="2147140523" r:id="rId28"/>
    <p:sldId id="2147140455" r:id="rId29"/>
    <p:sldId id="2147140423" r:id="rId30"/>
    <p:sldId id="2147140479" r:id="rId31"/>
    <p:sldId id="2147140522" r:id="rId32"/>
  </p:sldIdLst>
  <p:sldSz cx="12192000" cy="6858000"/>
  <p:notesSz cx="6858000" cy="91440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11"/>
            <p14:sldId id="2147140511"/>
            <p14:sldId id="2147140525"/>
            <p14:sldId id="2147140421"/>
            <p14:sldId id="2147140425"/>
            <p14:sldId id="2147140484"/>
            <p14:sldId id="2147140485"/>
            <p14:sldId id="2147140506"/>
            <p14:sldId id="2147140509"/>
            <p14:sldId id="2147140489"/>
            <p14:sldId id="2147140497"/>
            <p14:sldId id="2147140510"/>
            <p14:sldId id="2147140490"/>
            <p14:sldId id="2147140524"/>
            <p14:sldId id="2147140513"/>
            <p14:sldId id="2147140514"/>
            <p14:sldId id="2147140515"/>
            <p14:sldId id="2147140516"/>
            <p14:sldId id="2147140517"/>
            <p14:sldId id="2147140518"/>
            <p14:sldId id="2147140520"/>
            <p14:sldId id="2147140519"/>
            <p14:sldId id="2147140448"/>
            <p14:sldId id="2147140523"/>
            <p14:sldId id="2147140455"/>
            <p14:sldId id="2147140423"/>
            <p14:sldId id="2147140479"/>
            <p14:sldId id="214714052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1987442-388A-3D85-9267-9D330398589D}" name="Rose Khattar" initials="RK" userId="S::rose.khattar@e61.in::ee085c25-62bb-45e9-86e9-73cb89e94472" providerId="AD"/>
  <p188:author id="{BF14334D-2C5C-4C65-D5D1-43BCC612F77C}" name="Erin Clarke" initials="" userId="S::erin.clarke@e61.in::cad22c56-d372-48b4-9ec3-18336bd95bf6" providerId="AD"/>
  <p188:author id="{02212BB9-A5CF-D335-3301-776C81AF3ABE}" name="Lachlan Vass" initials="LV" userId="S::lachlan.vass@e61.in::3865f71c-c396-40c5-8390-2fc8d944de27" providerId="AD"/>
  <p188:author id="{5D220AD4-BDDA-9310-4A20-C5A48DC4CD91}" name="Matt Nolan" initials="MN" userId="S::matt.nolan@e61.in::a62ef2e7-69e7-438f-a0a1-6155e204b9f1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  <p188:author id="{B00925FF-888A-87C7-8C00-E30A65508C2A}" name="Pelin Akyol" initials="PA" userId="S::pelin.akyol@e61.in::b561ad94-4baf-4f94-8bc3-bdec80a7d59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429"/>
    <p:restoredTop sz="94605"/>
  </p:normalViewPr>
  <p:slideViewPr>
    <p:cSldViewPr snapToGrid="0">
      <p:cViewPr varScale="1">
        <p:scale>
          <a:sx n="68" d="100"/>
          <a:sy n="68" d="100"/>
        </p:scale>
        <p:origin x="64" y="19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40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gs" Target="tags/tag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19.svg"/><Relationship Id="rId9" Type="http://schemas.openxmlformats.org/officeDocument/2006/relationships/image" Target="../media/image24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19.svg"/><Relationship Id="rId9" Type="http://schemas.openxmlformats.org/officeDocument/2006/relationships/image" Target="../media/image2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B86659-DCCE-4AAC-8956-2FC60B610D0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0469B09C-BFAC-4B78-8D01-094A2A78CB51}">
      <dgm:prSet phldrT="[Text]"/>
      <dgm:spPr/>
      <dgm:t>
        <a:bodyPr/>
        <a:lstStyle/>
        <a:p>
          <a:r>
            <a:rPr lang="en-US"/>
            <a:t>Lower lifetime income</a:t>
          </a:r>
          <a:endParaRPr lang="en-AU"/>
        </a:p>
      </dgm:t>
    </dgm:pt>
    <dgm:pt modelId="{F3C67D7C-9251-4B7A-855D-0F9A397BF48A}" type="parTrans" cxnId="{10B3C2A0-14EA-4E32-98E0-6A518B4E202C}">
      <dgm:prSet/>
      <dgm:spPr/>
      <dgm:t>
        <a:bodyPr/>
        <a:lstStyle/>
        <a:p>
          <a:endParaRPr lang="en-AU"/>
        </a:p>
      </dgm:t>
    </dgm:pt>
    <dgm:pt modelId="{B3D9AB8B-3025-43DF-84B0-7499710197E2}" type="sibTrans" cxnId="{10B3C2A0-14EA-4E32-98E0-6A518B4E202C}">
      <dgm:prSet/>
      <dgm:spPr/>
      <dgm:t>
        <a:bodyPr/>
        <a:lstStyle/>
        <a:p>
          <a:endParaRPr lang="en-AU"/>
        </a:p>
      </dgm:t>
    </dgm:pt>
    <dgm:pt modelId="{3050C048-CCF1-4B9E-8BD9-147D273E34BE}">
      <dgm:prSet phldrT="[Text]"/>
      <dgm:spPr/>
      <dgm:t>
        <a:bodyPr/>
        <a:lstStyle/>
        <a:p>
          <a:r>
            <a:rPr lang="en-US"/>
            <a:t>Insufficient liquidity</a:t>
          </a:r>
          <a:endParaRPr lang="en-AU"/>
        </a:p>
      </dgm:t>
    </dgm:pt>
    <dgm:pt modelId="{4A78CED7-A380-491C-B2CE-BEC71DB8E6F9}" type="parTrans" cxnId="{973B2924-961B-4301-A536-9F6BA034D18B}">
      <dgm:prSet/>
      <dgm:spPr/>
      <dgm:t>
        <a:bodyPr/>
        <a:lstStyle/>
        <a:p>
          <a:endParaRPr lang="en-AU"/>
        </a:p>
      </dgm:t>
    </dgm:pt>
    <dgm:pt modelId="{D3E99FE3-3FDC-40E6-9DF2-528329BF9FE9}" type="sibTrans" cxnId="{973B2924-961B-4301-A536-9F6BA034D18B}">
      <dgm:prSet/>
      <dgm:spPr/>
      <dgm:t>
        <a:bodyPr/>
        <a:lstStyle/>
        <a:p>
          <a:endParaRPr lang="en-AU"/>
        </a:p>
      </dgm:t>
    </dgm:pt>
    <dgm:pt modelId="{8ECE1759-E83E-4C51-BB3A-DD492391EF24}">
      <dgm:prSet phldrT="[Text]"/>
      <dgm:spPr/>
      <dgm:t>
        <a:bodyPr/>
        <a:lstStyle/>
        <a:p>
          <a:r>
            <a:rPr lang="en-US"/>
            <a:t>Uncertainty</a:t>
          </a:r>
          <a:endParaRPr lang="en-AU"/>
        </a:p>
      </dgm:t>
    </dgm:pt>
    <dgm:pt modelId="{7CAB2011-231C-4E1D-B9E4-44FAA52584E8}" type="parTrans" cxnId="{1027E007-707A-4DA3-BFE1-307C9422B85A}">
      <dgm:prSet/>
      <dgm:spPr/>
      <dgm:t>
        <a:bodyPr/>
        <a:lstStyle/>
        <a:p>
          <a:endParaRPr lang="en-AU"/>
        </a:p>
      </dgm:t>
    </dgm:pt>
    <dgm:pt modelId="{F5FCE303-BC78-408F-AD80-B385C1FBE422}" type="sibTrans" cxnId="{1027E007-707A-4DA3-BFE1-307C9422B85A}">
      <dgm:prSet/>
      <dgm:spPr/>
      <dgm:t>
        <a:bodyPr/>
        <a:lstStyle/>
        <a:p>
          <a:endParaRPr lang="en-AU"/>
        </a:p>
      </dgm:t>
    </dgm:pt>
    <dgm:pt modelId="{5F8AF88D-E910-44D4-BFF2-891D2E15F60F}">
      <dgm:prSet phldrT="[Text]"/>
      <dgm:spPr>
        <a:solidFill>
          <a:schemeClr val="accent4"/>
        </a:solidFill>
      </dgm:spPr>
      <dgm:t>
        <a:bodyPr/>
        <a:lstStyle/>
        <a:p>
          <a:r>
            <a:rPr lang="en-US"/>
            <a:t>Lower expenses (work related costs)</a:t>
          </a:r>
          <a:endParaRPr lang="en-AU"/>
        </a:p>
      </dgm:t>
    </dgm:pt>
    <dgm:pt modelId="{08CAB302-9CE3-4D99-9DA2-D4677DEB2C23}" type="parTrans" cxnId="{274CA1A3-B210-4805-BB4B-F8920DF8E351}">
      <dgm:prSet/>
      <dgm:spPr/>
      <dgm:t>
        <a:bodyPr/>
        <a:lstStyle/>
        <a:p>
          <a:endParaRPr lang="en-AU"/>
        </a:p>
      </dgm:t>
    </dgm:pt>
    <dgm:pt modelId="{EF57632D-45CD-4D85-97DA-7F2844222182}" type="sibTrans" cxnId="{274CA1A3-B210-4805-BB4B-F8920DF8E351}">
      <dgm:prSet/>
      <dgm:spPr/>
      <dgm:t>
        <a:bodyPr/>
        <a:lstStyle/>
        <a:p>
          <a:endParaRPr lang="en-AU"/>
        </a:p>
      </dgm:t>
    </dgm:pt>
    <dgm:pt modelId="{B2EA364A-D1C8-48A7-93B4-4EA8D661E7DD}" type="pres">
      <dgm:prSet presAssocID="{91B86659-DCCE-4AAC-8956-2FC60B610D0C}" presName="linear" presStyleCnt="0">
        <dgm:presLayoutVars>
          <dgm:dir/>
          <dgm:animLvl val="lvl"/>
          <dgm:resizeHandles val="exact"/>
        </dgm:presLayoutVars>
      </dgm:prSet>
      <dgm:spPr/>
    </dgm:pt>
    <dgm:pt modelId="{D42D3759-BD58-4AF4-BA3D-46542A707B22}" type="pres">
      <dgm:prSet presAssocID="{0469B09C-BFAC-4B78-8D01-094A2A78CB51}" presName="parentLin" presStyleCnt="0"/>
      <dgm:spPr/>
    </dgm:pt>
    <dgm:pt modelId="{994B5136-6593-4462-B285-933B72F6D8C4}" type="pres">
      <dgm:prSet presAssocID="{0469B09C-BFAC-4B78-8D01-094A2A78CB51}" presName="parentLeftMargin" presStyleLbl="node1" presStyleIdx="0" presStyleCnt="4"/>
      <dgm:spPr/>
    </dgm:pt>
    <dgm:pt modelId="{FC1D7D01-17AA-4EAD-A6BA-1D3DCCD8F497}" type="pres">
      <dgm:prSet presAssocID="{0469B09C-BFAC-4B78-8D01-094A2A78CB51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5AA7CF81-01E9-4B2D-A83B-2D47F39A00D7}" type="pres">
      <dgm:prSet presAssocID="{0469B09C-BFAC-4B78-8D01-094A2A78CB51}" presName="negativeSpace" presStyleCnt="0"/>
      <dgm:spPr/>
    </dgm:pt>
    <dgm:pt modelId="{DAE6DB8B-932B-486D-AA17-8218AD866F63}" type="pres">
      <dgm:prSet presAssocID="{0469B09C-BFAC-4B78-8D01-094A2A78CB51}" presName="childText" presStyleLbl="conFgAcc1" presStyleIdx="0" presStyleCnt="4">
        <dgm:presLayoutVars>
          <dgm:bulletEnabled val="1"/>
        </dgm:presLayoutVars>
      </dgm:prSet>
      <dgm:spPr/>
    </dgm:pt>
    <dgm:pt modelId="{457A2F44-AC50-41B9-8715-CA74B0B38BC8}" type="pres">
      <dgm:prSet presAssocID="{B3D9AB8B-3025-43DF-84B0-7499710197E2}" presName="spaceBetweenRectangles" presStyleCnt="0"/>
      <dgm:spPr/>
    </dgm:pt>
    <dgm:pt modelId="{88A62CFB-1583-41E1-A3EC-EDE4FDC5B151}" type="pres">
      <dgm:prSet presAssocID="{3050C048-CCF1-4B9E-8BD9-147D273E34BE}" presName="parentLin" presStyleCnt="0"/>
      <dgm:spPr/>
    </dgm:pt>
    <dgm:pt modelId="{1F71A354-F19A-49C9-AAB1-EC731D57468E}" type="pres">
      <dgm:prSet presAssocID="{3050C048-CCF1-4B9E-8BD9-147D273E34BE}" presName="parentLeftMargin" presStyleLbl="node1" presStyleIdx="0" presStyleCnt="4"/>
      <dgm:spPr/>
    </dgm:pt>
    <dgm:pt modelId="{A316E261-ADA1-4BCD-9FAC-F1C71E8EC68F}" type="pres">
      <dgm:prSet presAssocID="{3050C048-CCF1-4B9E-8BD9-147D273E34B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BF57D4F-2D3E-4EC1-A2BE-7AD4AA16B420}" type="pres">
      <dgm:prSet presAssocID="{3050C048-CCF1-4B9E-8BD9-147D273E34BE}" presName="negativeSpace" presStyleCnt="0"/>
      <dgm:spPr/>
    </dgm:pt>
    <dgm:pt modelId="{FC7931F7-A84A-4B6C-B6B2-E47382BA84A5}" type="pres">
      <dgm:prSet presAssocID="{3050C048-CCF1-4B9E-8BD9-147D273E34BE}" presName="childText" presStyleLbl="conFgAcc1" presStyleIdx="1" presStyleCnt="4">
        <dgm:presLayoutVars>
          <dgm:bulletEnabled val="1"/>
        </dgm:presLayoutVars>
      </dgm:prSet>
      <dgm:spPr/>
    </dgm:pt>
    <dgm:pt modelId="{BB8FF018-933E-473D-AB31-99A08B130433}" type="pres">
      <dgm:prSet presAssocID="{D3E99FE3-3FDC-40E6-9DF2-528329BF9FE9}" presName="spaceBetweenRectangles" presStyleCnt="0"/>
      <dgm:spPr/>
    </dgm:pt>
    <dgm:pt modelId="{81F8EEDE-3FE8-4EF3-9CEC-44D5C6E50FF8}" type="pres">
      <dgm:prSet presAssocID="{8ECE1759-E83E-4C51-BB3A-DD492391EF24}" presName="parentLin" presStyleCnt="0"/>
      <dgm:spPr/>
    </dgm:pt>
    <dgm:pt modelId="{E7F52686-20CF-4158-AF0B-BA2C53C134E6}" type="pres">
      <dgm:prSet presAssocID="{8ECE1759-E83E-4C51-BB3A-DD492391EF24}" presName="parentLeftMargin" presStyleLbl="node1" presStyleIdx="1" presStyleCnt="4"/>
      <dgm:spPr/>
    </dgm:pt>
    <dgm:pt modelId="{0E48E7AC-001A-4DFF-8582-0B93BEAEF8D9}" type="pres">
      <dgm:prSet presAssocID="{8ECE1759-E83E-4C51-BB3A-DD492391EF2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83EDA414-46C1-4369-B1D5-3BDCCA145B47}" type="pres">
      <dgm:prSet presAssocID="{8ECE1759-E83E-4C51-BB3A-DD492391EF24}" presName="negativeSpace" presStyleCnt="0"/>
      <dgm:spPr/>
    </dgm:pt>
    <dgm:pt modelId="{92D3FAC1-6FD5-4F3A-BD9E-217934C2619B}" type="pres">
      <dgm:prSet presAssocID="{8ECE1759-E83E-4C51-BB3A-DD492391EF24}" presName="childText" presStyleLbl="conFgAcc1" presStyleIdx="2" presStyleCnt="4">
        <dgm:presLayoutVars>
          <dgm:bulletEnabled val="1"/>
        </dgm:presLayoutVars>
      </dgm:prSet>
      <dgm:spPr/>
    </dgm:pt>
    <dgm:pt modelId="{2268F958-9893-4050-880D-0830309AC329}" type="pres">
      <dgm:prSet presAssocID="{F5FCE303-BC78-408F-AD80-B385C1FBE422}" presName="spaceBetweenRectangles" presStyleCnt="0"/>
      <dgm:spPr/>
    </dgm:pt>
    <dgm:pt modelId="{E71851DA-613E-4C9C-9FCA-CB11A38A426E}" type="pres">
      <dgm:prSet presAssocID="{5F8AF88D-E910-44D4-BFF2-891D2E15F60F}" presName="parentLin" presStyleCnt="0"/>
      <dgm:spPr/>
    </dgm:pt>
    <dgm:pt modelId="{68749C50-B2A3-4B74-A639-8D41542AE981}" type="pres">
      <dgm:prSet presAssocID="{5F8AF88D-E910-44D4-BFF2-891D2E15F60F}" presName="parentLeftMargin" presStyleLbl="node1" presStyleIdx="2" presStyleCnt="4"/>
      <dgm:spPr/>
    </dgm:pt>
    <dgm:pt modelId="{ACC828A0-BD86-40D7-9E61-536014235759}" type="pres">
      <dgm:prSet presAssocID="{5F8AF88D-E910-44D4-BFF2-891D2E15F60F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C24FDE02-B821-48F1-A588-2F1427BCFCE9}" type="pres">
      <dgm:prSet presAssocID="{5F8AF88D-E910-44D4-BFF2-891D2E15F60F}" presName="negativeSpace" presStyleCnt="0"/>
      <dgm:spPr/>
    </dgm:pt>
    <dgm:pt modelId="{ECCDF723-D7C1-41C2-879C-F625502B8F99}" type="pres">
      <dgm:prSet presAssocID="{5F8AF88D-E910-44D4-BFF2-891D2E15F60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1027E007-707A-4DA3-BFE1-307C9422B85A}" srcId="{91B86659-DCCE-4AAC-8956-2FC60B610D0C}" destId="{8ECE1759-E83E-4C51-BB3A-DD492391EF24}" srcOrd="2" destOrd="0" parTransId="{7CAB2011-231C-4E1D-B9E4-44FAA52584E8}" sibTransId="{F5FCE303-BC78-408F-AD80-B385C1FBE422}"/>
    <dgm:cxn modelId="{87914C1C-EF91-4D2E-9118-79EBE87408D1}" type="presOf" srcId="{3050C048-CCF1-4B9E-8BD9-147D273E34BE}" destId="{A316E261-ADA1-4BCD-9FAC-F1C71E8EC68F}" srcOrd="1" destOrd="0" presId="urn:microsoft.com/office/officeart/2005/8/layout/list1"/>
    <dgm:cxn modelId="{973B2924-961B-4301-A536-9F6BA034D18B}" srcId="{91B86659-DCCE-4AAC-8956-2FC60B610D0C}" destId="{3050C048-CCF1-4B9E-8BD9-147D273E34BE}" srcOrd="1" destOrd="0" parTransId="{4A78CED7-A380-491C-B2CE-BEC71DB8E6F9}" sibTransId="{D3E99FE3-3FDC-40E6-9DF2-528329BF9FE9}"/>
    <dgm:cxn modelId="{3CEAF739-AAC7-4FAC-A6D2-FCD38F6ADDDA}" type="presOf" srcId="{8ECE1759-E83E-4C51-BB3A-DD492391EF24}" destId="{E7F52686-20CF-4158-AF0B-BA2C53C134E6}" srcOrd="0" destOrd="0" presId="urn:microsoft.com/office/officeart/2005/8/layout/list1"/>
    <dgm:cxn modelId="{3A655E42-4DEE-4D7F-B4B0-1237FDB1A0F0}" type="presOf" srcId="{5F8AF88D-E910-44D4-BFF2-891D2E15F60F}" destId="{68749C50-B2A3-4B74-A639-8D41542AE981}" srcOrd="0" destOrd="0" presId="urn:microsoft.com/office/officeart/2005/8/layout/list1"/>
    <dgm:cxn modelId="{D549B56F-20A2-4372-B85F-C915CB88AF24}" type="presOf" srcId="{0469B09C-BFAC-4B78-8D01-094A2A78CB51}" destId="{994B5136-6593-4462-B285-933B72F6D8C4}" srcOrd="0" destOrd="0" presId="urn:microsoft.com/office/officeart/2005/8/layout/list1"/>
    <dgm:cxn modelId="{DD683972-2F91-460B-B066-E56D899C0E44}" type="presOf" srcId="{3050C048-CCF1-4B9E-8BD9-147D273E34BE}" destId="{1F71A354-F19A-49C9-AAB1-EC731D57468E}" srcOrd="0" destOrd="0" presId="urn:microsoft.com/office/officeart/2005/8/layout/list1"/>
    <dgm:cxn modelId="{2F175376-A9F6-4285-B757-D1C426E10A04}" type="presOf" srcId="{8ECE1759-E83E-4C51-BB3A-DD492391EF24}" destId="{0E48E7AC-001A-4DFF-8582-0B93BEAEF8D9}" srcOrd="1" destOrd="0" presId="urn:microsoft.com/office/officeart/2005/8/layout/list1"/>
    <dgm:cxn modelId="{F1EDFB78-5E89-472F-AD25-B9ED24308AA0}" type="presOf" srcId="{5F8AF88D-E910-44D4-BFF2-891D2E15F60F}" destId="{ACC828A0-BD86-40D7-9E61-536014235759}" srcOrd="1" destOrd="0" presId="urn:microsoft.com/office/officeart/2005/8/layout/list1"/>
    <dgm:cxn modelId="{10B3C2A0-14EA-4E32-98E0-6A518B4E202C}" srcId="{91B86659-DCCE-4AAC-8956-2FC60B610D0C}" destId="{0469B09C-BFAC-4B78-8D01-094A2A78CB51}" srcOrd="0" destOrd="0" parTransId="{F3C67D7C-9251-4B7A-855D-0F9A397BF48A}" sibTransId="{B3D9AB8B-3025-43DF-84B0-7499710197E2}"/>
    <dgm:cxn modelId="{274CA1A3-B210-4805-BB4B-F8920DF8E351}" srcId="{91B86659-DCCE-4AAC-8956-2FC60B610D0C}" destId="{5F8AF88D-E910-44D4-BFF2-891D2E15F60F}" srcOrd="3" destOrd="0" parTransId="{08CAB302-9CE3-4D99-9DA2-D4677DEB2C23}" sibTransId="{EF57632D-45CD-4D85-97DA-7F2844222182}"/>
    <dgm:cxn modelId="{1923BCA4-4F67-49F8-BB3A-41A5A47D0874}" type="presOf" srcId="{91B86659-DCCE-4AAC-8956-2FC60B610D0C}" destId="{B2EA364A-D1C8-48A7-93B4-4EA8D661E7DD}" srcOrd="0" destOrd="0" presId="urn:microsoft.com/office/officeart/2005/8/layout/list1"/>
    <dgm:cxn modelId="{E5E076E0-2025-4ACF-83AB-54972E631FC5}" type="presOf" srcId="{0469B09C-BFAC-4B78-8D01-094A2A78CB51}" destId="{FC1D7D01-17AA-4EAD-A6BA-1D3DCCD8F497}" srcOrd="1" destOrd="0" presId="urn:microsoft.com/office/officeart/2005/8/layout/list1"/>
    <dgm:cxn modelId="{F55BE421-5ECE-443E-B318-B170EB8F290D}" type="presParOf" srcId="{B2EA364A-D1C8-48A7-93B4-4EA8D661E7DD}" destId="{D42D3759-BD58-4AF4-BA3D-46542A707B22}" srcOrd="0" destOrd="0" presId="urn:microsoft.com/office/officeart/2005/8/layout/list1"/>
    <dgm:cxn modelId="{FCA1E6AA-61FD-4C98-9833-2AC6E6AE3456}" type="presParOf" srcId="{D42D3759-BD58-4AF4-BA3D-46542A707B22}" destId="{994B5136-6593-4462-B285-933B72F6D8C4}" srcOrd="0" destOrd="0" presId="urn:microsoft.com/office/officeart/2005/8/layout/list1"/>
    <dgm:cxn modelId="{E1A40302-5C99-4BD8-87D4-BDD721C20926}" type="presParOf" srcId="{D42D3759-BD58-4AF4-BA3D-46542A707B22}" destId="{FC1D7D01-17AA-4EAD-A6BA-1D3DCCD8F497}" srcOrd="1" destOrd="0" presId="urn:microsoft.com/office/officeart/2005/8/layout/list1"/>
    <dgm:cxn modelId="{7994E4AA-F43B-4AB6-96CA-311D5E5D89AA}" type="presParOf" srcId="{B2EA364A-D1C8-48A7-93B4-4EA8D661E7DD}" destId="{5AA7CF81-01E9-4B2D-A83B-2D47F39A00D7}" srcOrd="1" destOrd="0" presId="urn:microsoft.com/office/officeart/2005/8/layout/list1"/>
    <dgm:cxn modelId="{1E12B5B8-2265-4F85-A950-FCD81C15F402}" type="presParOf" srcId="{B2EA364A-D1C8-48A7-93B4-4EA8D661E7DD}" destId="{DAE6DB8B-932B-486D-AA17-8218AD866F63}" srcOrd="2" destOrd="0" presId="urn:microsoft.com/office/officeart/2005/8/layout/list1"/>
    <dgm:cxn modelId="{B3D37286-5C0C-4783-A03F-9E639D282D8C}" type="presParOf" srcId="{B2EA364A-D1C8-48A7-93B4-4EA8D661E7DD}" destId="{457A2F44-AC50-41B9-8715-CA74B0B38BC8}" srcOrd="3" destOrd="0" presId="urn:microsoft.com/office/officeart/2005/8/layout/list1"/>
    <dgm:cxn modelId="{C5A6B848-F88F-4DFF-BBBF-CF3074098CFB}" type="presParOf" srcId="{B2EA364A-D1C8-48A7-93B4-4EA8D661E7DD}" destId="{88A62CFB-1583-41E1-A3EC-EDE4FDC5B151}" srcOrd="4" destOrd="0" presId="urn:microsoft.com/office/officeart/2005/8/layout/list1"/>
    <dgm:cxn modelId="{D4BF4679-EABF-4857-878A-7CEACE1AE6B7}" type="presParOf" srcId="{88A62CFB-1583-41E1-A3EC-EDE4FDC5B151}" destId="{1F71A354-F19A-49C9-AAB1-EC731D57468E}" srcOrd="0" destOrd="0" presId="urn:microsoft.com/office/officeart/2005/8/layout/list1"/>
    <dgm:cxn modelId="{A0A378DF-7225-4F04-80FF-9A6650920624}" type="presParOf" srcId="{88A62CFB-1583-41E1-A3EC-EDE4FDC5B151}" destId="{A316E261-ADA1-4BCD-9FAC-F1C71E8EC68F}" srcOrd="1" destOrd="0" presId="urn:microsoft.com/office/officeart/2005/8/layout/list1"/>
    <dgm:cxn modelId="{6DA290FD-37FB-46AA-814A-9C6ABED0CF9B}" type="presParOf" srcId="{B2EA364A-D1C8-48A7-93B4-4EA8D661E7DD}" destId="{FBF57D4F-2D3E-4EC1-A2BE-7AD4AA16B420}" srcOrd="5" destOrd="0" presId="urn:microsoft.com/office/officeart/2005/8/layout/list1"/>
    <dgm:cxn modelId="{2522DB50-E714-4683-9151-D9749CF7F042}" type="presParOf" srcId="{B2EA364A-D1C8-48A7-93B4-4EA8D661E7DD}" destId="{FC7931F7-A84A-4B6C-B6B2-E47382BA84A5}" srcOrd="6" destOrd="0" presId="urn:microsoft.com/office/officeart/2005/8/layout/list1"/>
    <dgm:cxn modelId="{3D6BC7C9-822A-4DFE-80C7-18AD7A7B07E8}" type="presParOf" srcId="{B2EA364A-D1C8-48A7-93B4-4EA8D661E7DD}" destId="{BB8FF018-933E-473D-AB31-99A08B130433}" srcOrd="7" destOrd="0" presId="urn:microsoft.com/office/officeart/2005/8/layout/list1"/>
    <dgm:cxn modelId="{2D8C27A6-9DC3-4029-AB8B-EB95868E65FC}" type="presParOf" srcId="{B2EA364A-D1C8-48A7-93B4-4EA8D661E7DD}" destId="{81F8EEDE-3FE8-4EF3-9CEC-44D5C6E50FF8}" srcOrd="8" destOrd="0" presId="urn:microsoft.com/office/officeart/2005/8/layout/list1"/>
    <dgm:cxn modelId="{C787EDBD-2948-4559-B2A8-476DC5CFDA90}" type="presParOf" srcId="{81F8EEDE-3FE8-4EF3-9CEC-44D5C6E50FF8}" destId="{E7F52686-20CF-4158-AF0B-BA2C53C134E6}" srcOrd="0" destOrd="0" presId="urn:microsoft.com/office/officeart/2005/8/layout/list1"/>
    <dgm:cxn modelId="{604CC6DA-5D19-413A-A84C-D9C2D7EFE556}" type="presParOf" srcId="{81F8EEDE-3FE8-4EF3-9CEC-44D5C6E50FF8}" destId="{0E48E7AC-001A-4DFF-8582-0B93BEAEF8D9}" srcOrd="1" destOrd="0" presId="urn:microsoft.com/office/officeart/2005/8/layout/list1"/>
    <dgm:cxn modelId="{22229265-F607-4667-ADEE-60E83112ED77}" type="presParOf" srcId="{B2EA364A-D1C8-48A7-93B4-4EA8D661E7DD}" destId="{83EDA414-46C1-4369-B1D5-3BDCCA145B47}" srcOrd="9" destOrd="0" presId="urn:microsoft.com/office/officeart/2005/8/layout/list1"/>
    <dgm:cxn modelId="{FF60C683-9191-4426-A968-8D099AC08101}" type="presParOf" srcId="{B2EA364A-D1C8-48A7-93B4-4EA8D661E7DD}" destId="{92D3FAC1-6FD5-4F3A-BD9E-217934C2619B}" srcOrd="10" destOrd="0" presId="urn:microsoft.com/office/officeart/2005/8/layout/list1"/>
    <dgm:cxn modelId="{FB6DAFF2-14D3-4FA8-8BE0-55FE81C568D9}" type="presParOf" srcId="{B2EA364A-D1C8-48A7-93B4-4EA8D661E7DD}" destId="{2268F958-9893-4050-880D-0830309AC329}" srcOrd="11" destOrd="0" presId="urn:microsoft.com/office/officeart/2005/8/layout/list1"/>
    <dgm:cxn modelId="{5C7399AF-ABD8-451E-B8BC-4CFCB8135D08}" type="presParOf" srcId="{B2EA364A-D1C8-48A7-93B4-4EA8D661E7DD}" destId="{E71851DA-613E-4C9C-9FCA-CB11A38A426E}" srcOrd="12" destOrd="0" presId="urn:microsoft.com/office/officeart/2005/8/layout/list1"/>
    <dgm:cxn modelId="{73BCB9E0-AB76-4550-9DD0-13F91AA4D0D4}" type="presParOf" srcId="{E71851DA-613E-4C9C-9FCA-CB11A38A426E}" destId="{68749C50-B2A3-4B74-A639-8D41542AE981}" srcOrd="0" destOrd="0" presId="urn:microsoft.com/office/officeart/2005/8/layout/list1"/>
    <dgm:cxn modelId="{B407208E-F386-4674-BEDF-57593ADADF23}" type="presParOf" srcId="{E71851DA-613E-4C9C-9FCA-CB11A38A426E}" destId="{ACC828A0-BD86-40D7-9E61-536014235759}" srcOrd="1" destOrd="0" presId="urn:microsoft.com/office/officeart/2005/8/layout/list1"/>
    <dgm:cxn modelId="{6E40B911-2094-4673-B6C3-AC3A66D4B7BE}" type="presParOf" srcId="{B2EA364A-D1C8-48A7-93B4-4EA8D661E7DD}" destId="{C24FDE02-B821-48F1-A588-2F1427BCFCE9}" srcOrd="13" destOrd="0" presId="urn:microsoft.com/office/officeart/2005/8/layout/list1"/>
    <dgm:cxn modelId="{0610DAE7-850E-48E9-9129-352849CB84B9}" type="presParOf" srcId="{B2EA364A-D1C8-48A7-93B4-4EA8D661E7DD}" destId="{ECCDF723-D7C1-41C2-879C-F625502B8F9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0CBD56D-15FC-488E-9BB0-7153C98A44FD}" type="doc">
      <dgm:prSet loTypeId="urn:microsoft.com/office/officeart/2009/layout/CirclePicture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9DA88695-658A-4464-8CBF-7B2238377EE3}">
      <dgm:prSet phldrT="[Text]"/>
      <dgm:spPr/>
      <dgm:t>
        <a:bodyPr/>
        <a:lstStyle/>
        <a:p>
          <a:r>
            <a:rPr lang="en-US"/>
            <a:t>Job loss</a:t>
          </a:r>
          <a:endParaRPr lang="en-AU"/>
        </a:p>
      </dgm:t>
    </dgm:pt>
    <dgm:pt modelId="{E0FD3DA9-1F37-453D-9B6B-D3F46A578C6A}" type="parTrans" cxnId="{6EEABC8D-B820-4CB1-AF4D-6527DDED962A}">
      <dgm:prSet/>
      <dgm:spPr/>
      <dgm:t>
        <a:bodyPr/>
        <a:lstStyle/>
        <a:p>
          <a:endParaRPr lang="en-AU"/>
        </a:p>
      </dgm:t>
    </dgm:pt>
    <dgm:pt modelId="{C2594D75-9F36-4C9A-8CD8-C4DD677DCB33}" type="sibTrans" cxnId="{6EEABC8D-B820-4CB1-AF4D-6527DDED962A}">
      <dgm:prSet/>
      <dgm:spPr/>
      <dgm:t>
        <a:bodyPr/>
        <a:lstStyle/>
        <a:p>
          <a:endParaRPr lang="en-AU"/>
        </a:p>
      </dgm:t>
    </dgm:pt>
    <dgm:pt modelId="{F951A0BD-6477-45F0-A0C3-9D2062E54824}">
      <dgm:prSet phldrT="[Text]"/>
      <dgm:spPr/>
      <dgm:t>
        <a:bodyPr/>
        <a:lstStyle/>
        <a:p>
          <a:r>
            <a:rPr lang="en-US"/>
            <a:t>Benefit application</a:t>
          </a:r>
          <a:endParaRPr lang="en-AU"/>
        </a:p>
      </dgm:t>
    </dgm:pt>
    <dgm:pt modelId="{6CC3D62B-CC52-4110-AD1C-A932A60243F4}" type="parTrans" cxnId="{26F972F4-8860-4163-A2FB-A688E8F306B7}">
      <dgm:prSet/>
      <dgm:spPr/>
      <dgm:t>
        <a:bodyPr/>
        <a:lstStyle/>
        <a:p>
          <a:endParaRPr lang="en-AU"/>
        </a:p>
      </dgm:t>
    </dgm:pt>
    <dgm:pt modelId="{3703EB83-E135-479F-A9AC-3470FF05781A}" type="sibTrans" cxnId="{26F972F4-8860-4163-A2FB-A688E8F306B7}">
      <dgm:prSet/>
      <dgm:spPr/>
      <dgm:t>
        <a:bodyPr/>
        <a:lstStyle/>
        <a:p>
          <a:endParaRPr lang="en-AU"/>
        </a:p>
      </dgm:t>
    </dgm:pt>
    <dgm:pt modelId="{B7A6EC37-B0A8-4929-A93C-352EE9B75DEF}">
      <dgm:prSet phldrT="[Text]"/>
      <dgm:spPr/>
      <dgm:t>
        <a:bodyPr/>
        <a:lstStyle/>
        <a:p>
          <a:r>
            <a:rPr lang="en-US"/>
            <a:t>Approval</a:t>
          </a:r>
          <a:endParaRPr lang="en-AU"/>
        </a:p>
      </dgm:t>
    </dgm:pt>
    <dgm:pt modelId="{5E2322E7-8561-4B92-9E38-43DC4624BAF1}" type="parTrans" cxnId="{7E14CAEA-2C86-46FA-91E6-C3D7B7F24716}">
      <dgm:prSet/>
      <dgm:spPr/>
      <dgm:t>
        <a:bodyPr/>
        <a:lstStyle/>
        <a:p>
          <a:endParaRPr lang="en-AU"/>
        </a:p>
      </dgm:t>
    </dgm:pt>
    <dgm:pt modelId="{0C1F0E1E-C281-4A8F-97F8-E816E068E942}" type="sibTrans" cxnId="{7E14CAEA-2C86-46FA-91E6-C3D7B7F24716}">
      <dgm:prSet/>
      <dgm:spPr/>
      <dgm:t>
        <a:bodyPr/>
        <a:lstStyle/>
        <a:p>
          <a:endParaRPr lang="en-AU"/>
        </a:p>
      </dgm:t>
    </dgm:pt>
    <dgm:pt modelId="{8E00B3D9-7438-4416-B605-A6731831956F}">
      <dgm:prSet phldrT="[Text]"/>
      <dgm:spPr/>
      <dgm:t>
        <a:bodyPr/>
        <a:lstStyle/>
        <a:p>
          <a:r>
            <a:rPr lang="en-US"/>
            <a:t>Non-receipt</a:t>
          </a:r>
          <a:endParaRPr lang="en-AU"/>
        </a:p>
      </dgm:t>
    </dgm:pt>
    <dgm:pt modelId="{ACEE7473-DFDF-47AC-8628-03E738EA80AF}" type="parTrans" cxnId="{2370B39D-3AF0-42C7-B4E0-467E70EC3F2A}">
      <dgm:prSet/>
      <dgm:spPr/>
      <dgm:t>
        <a:bodyPr/>
        <a:lstStyle/>
        <a:p>
          <a:endParaRPr lang="en-AU"/>
        </a:p>
      </dgm:t>
    </dgm:pt>
    <dgm:pt modelId="{4E919960-6A6F-4AA9-8627-B495D3C89882}" type="sibTrans" cxnId="{2370B39D-3AF0-42C7-B4E0-467E70EC3F2A}">
      <dgm:prSet/>
      <dgm:spPr/>
      <dgm:t>
        <a:bodyPr/>
        <a:lstStyle/>
        <a:p>
          <a:endParaRPr lang="en-AU"/>
        </a:p>
      </dgm:t>
    </dgm:pt>
    <dgm:pt modelId="{97643B9F-466E-496F-BD9B-9634E164FC1A}">
      <dgm:prSet phldrT="[Text]"/>
      <dgm:spPr/>
      <dgm:t>
        <a:bodyPr/>
        <a:lstStyle/>
        <a:p>
          <a:r>
            <a:rPr lang="en-US"/>
            <a:t>No application</a:t>
          </a:r>
          <a:endParaRPr lang="en-AU"/>
        </a:p>
      </dgm:t>
    </dgm:pt>
    <dgm:pt modelId="{D7B4AEC1-D097-4EC5-9CCC-09676C9B8C33}" type="parTrans" cxnId="{35E99128-988B-476B-BB0A-B185E2777EB4}">
      <dgm:prSet/>
      <dgm:spPr/>
      <dgm:t>
        <a:bodyPr/>
        <a:lstStyle/>
        <a:p>
          <a:endParaRPr lang="en-AU"/>
        </a:p>
      </dgm:t>
    </dgm:pt>
    <dgm:pt modelId="{CB653BC3-261B-4AF6-B995-199EBC93F01C}" type="sibTrans" cxnId="{35E99128-988B-476B-BB0A-B185E2777EB4}">
      <dgm:prSet/>
      <dgm:spPr/>
      <dgm:t>
        <a:bodyPr/>
        <a:lstStyle/>
        <a:p>
          <a:endParaRPr lang="en-AU"/>
        </a:p>
      </dgm:t>
    </dgm:pt>
    <dgm:pt modelId="{497AB8E9-01C9-4BC1-A436-3B42ADEBBA8D}">
      <dgm:prSet phldrT="[Text]"/>
      <dgm:spPr/>
      <dgm:t>
        <a:bodyPr/>
        <a:lstStyle/>
        <a:p>
          <a:r>
            <a:rPr lang="en-US"/>
            <a:t>Non-receipt</a:t>
          </a:r>
          <a:endParaRPr lang="en-AU"/>
        </a:p>
      </dgm:t>
    </dgm:pt>
    <dgm:pt modelId="{6186A53C-6D8F-4AED-90D9-8A228D640825}" type="parTrans" cxnId="{56AB8584-14FE-4384-8023-998330515248}">
      <dgm:prSet/>
      <dgm:spPr/>
      <dgm:t>
        <a:bodyPr/>
        <a:lstStyle/>
        <a:p>
          <a:endParaRPr lang="en-AU"/>
        </a:p>
      </dgm:t>
    </dgm:pt>
    <dgm:pt modelId="{441E3650-8A5C-4999-A7E0-389E405C24A1}" type="sibTrans" cxnId="{56AB8584-14FE-4384-8023-998330515248}">
      <dgm:prSet/>
      <dgm:spPr/>
      <dgm:t>
        <a:bodyPr/>
        <a:lstStyle/>
        <a:p>
          <a:endParaRPr lang="en-AU"/>
        </a:p>
      </dgm:t>
    </dgm:pt>
    <dgm:pt modelId="{CAF7CE16-7C55-471F-B04A-29C067A1ED8E}" type="pres">
      <dgm:prSet presAssocID="{70CBD56D-15FC-488E-9BB0-7153C98A44FD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C956CAA-30BD-4BBB-B111-202EE30FFDF3}" type="pres">
      <dgm:prSet presAssocID="{9DA88695-658A-4464-8CBF-7B2238377EE3}" presName="hierRoot1" presStyleCnt="0"/>
      <dgm:spPr/>
    </dgm:pt>
    <dgm:pt modelId="{79A137D9-26DB-41CB-9FFA-65B7AADE75C4}" type="pres">
      <dgm:prSet presAssocID="{9DA88695-658A-4464-8CBF-7B2238377EE3}" presName="composite" presStyleCnt="0"/>
      <dgm:spPr/>
    </dgm:pt>
    <dgm:pt modelId="{9382D173-BBD8-468A-BFD6-2F412E15A3AA}" type="pres">
      <dgm:prSet presAssocID="{9DA88695-658A-4464-8CBF-7B2238377EE3}" presName="image" presStyleLbl="node0" presStyleIdx="0" presStyleCnt="1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riefcase with solid fill"/>
        </a:ext>
      </dgm:extLst>
    </dgm:pt>
    <dgm:pt modelId="{C137704F-E2BD-488C-BD6C-01ECD6EA4795}" type="pres">
      <dgm:prSet presAssocID="{9DA88695-658A-4464-8CBF-7B2238377EE3}" presName="text" presStyleLbl="revTx" presStyleIdx="0" presStyleCnt="6">
        <dgm:presLayoutVars>
          <dgm:chPref val="3"/>
        </dgm:presLayoutVars>
      </dgm:prSet>
      <dgm:spPr/>
    </dgm:pt>
    <dgm:pt modelId="{A572DCDE-606B-4849-9126-4DEE0F9C968C}" type="pres">
      <dgm:prSet presAssocID="{9DA88695-658A-4464-8CBF-7B2238377EE3}" presName="hierChild2" presStyleCnt="0"/>
      <dgm:spPr/>
    </dgm:pt>
    <dgm:pt modelId="{02715925-9C71-4F75-8C25-2DEC4F1EFB34}" type="pres">
      <dgm:prSet presAssocID="{6CC3D62B-CC52-4110-AD1C-A932A60243F4}" presName="Name10" presStyleLbl="parChTrans1D2" presStyleIdx="0" presStyleCnt="2"/>
      <dgm:spPr/>
    </dgm:pt>
    <dgm:pt modelId="{BAF11527-51C4-457D-8EBA-410BAA8E9906}" type="pres">
      <dgm:prSet presAssocID="{F951A0BD-6477-45F0-A0C3-9D2062E54824}" presName="hierRoot2" presStyleCnt="0"/>
      <dgm:spPr/>
    </dgm:pt>
    <dgm:pt modelId="{60572029-0AB9-4A1A-99D8-08A895A8569C}" type="pres">
      <dgm:prSet presAssocID="{F951A0BD-6477-45F0-A0C3-9D2062E54824}" presName="composite2" presStyleCnt="0"/>
      <dgm:spPr/>
    </dgm:pt>
    <dgm:pt modelId="{2985AD6C-B8E7-47EF-8A4B-2D1492695B74}" type="pres">
      <dgm:prSet presAssocID="{F951A0BD-6477-45F0-A0C3-9D2062E54824}" presName="image2" presStyleLbl="node2" presStyleIdx="0" presStyleCnt="2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Open envelope with solid fill"/>
        </a:ext>
      </dgm:extLst>
    </dgm:pt>
    <dgm:pt modelId="{242A5515-3D65-48CF-99E9-1F9B1F7AFE81}" type="pres">
      <dgm:prSet presAssocID="{F951A0BD-6477-45F0-A0C3-9D2062E54824}" presName="text2" presStyleLbl="revTx" presStyleIdx="1" presStyleCnt="6">
        <dgm:presLayoutVars>
          <dgm:chPref val="3"/>
        </dgm:presLayoutVars>
      </dgm:prSet>
      <dgm:spPr/>
    </dgm:pt>
    <dgm:pt modelId="{B651A5CD-74CF-4964-BF38-B067F0512214}" type="pres">
      <dgm:prSet presAssocID="{F951A0BD-6477-45F0-A0C3-9D2062E54824}" presName="hierChild3" presStyleCnt="0"/>
      <dgm:spPr/>
    </dgm:pt>
    <dgm:pt modelId="{F88B3CCF-B388-4F61-9E01-A68E98586F67}" type="pres">
      <dgm:prSet presAssocID="{5E2322E7-8561-4B92-9E38-43DC4624BAF1}" presName="Name17" presStyleLbl="parChTrans1D3" presStyleIdx="0" presStyleCnt="3"/>
      <dgm:spPr/>
    </dgm:pt>
    <dgm:pt modelId="{23A984AB-60C0-4F51-9845-B1546934DA4F}" type="pres">
      <dgm:prSet presAssocID="{B7A6EC37-B0A8-4929-A93C-352EE9B75DEF}" presName="hierRoot3" presStyleCnt="0"/>
      <dgm:spPr/>
    </dgm:pt>
    <dgm:pt modelId="{6AC1D22A-72FF-41D8-B6AC-276A1476E342}" type="pres">
      <dgm:prSet presAssocID="{B7A6EC37-B0A8-4929-A93C-352EE9B75DEF}" presName="composite3" presStyleCnt="0"/>
      <dgm:spPr/>
    </dgm:pt>
    <dgm:pt modelId="{B0687140-AE12-4B89-A5EA-7B6A47FD2A95}" type="pres">
      <dgm:prSet presAssocID="{B7A6EC37-B0A8-4929-A93C-352EE9B75DEF}" presName="image3" presStyleLbl="node3" presStyleIdx="0" presStyleCnt="3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oney with solid fill"/>
        </a:ext>
      </dgm:extLst>
    </dgm:pt>
    <dgm:pt modelId="{B3379969-EDFE-4B50-A755-0A082A8392E0}" type="pres">
      <dgm:prSet presAssocID="{B7A6EC37-B0A8-4929-A93C-352EE9B75DEF}" presName="text3" presStyleLbl="revTx" presStyleIdx="2" presStyleCnt="6">
        <dgm:presLayoutVars>
          <dgm:chPref val="3"/>
        </dgm:presLayoutVars>
      </dgm:prSet>
      <dgm:spPr/>
    </dgm:pt>
    <dgm:pt modelId="{276AEDA7-A395-4D72-9F33-95CAA230BC94}" type="pres">
      <dgm:prSet presAssocID="{B7A6EC37-B0A8-4929-A93C-352EE9B75DEF}" presName="hierChild4" presStyleCnt="0"/>
      <dgm:spPr/>
    </dgm:pt>
    <dgm:pt modelId="{72A59A19-3BC4-44C1-B2E3-115BC37C6AE4}" type="pres">
      <dgm:prSet presAssocID="{ACEE7473-DFDF-47AC-8628-03E738EA80AF}" presName="Name17" presStyleLbl="parChTrans1D3" presStyleIdx="1" presStyleCnt="3"/>
      <dgm:spPr/>
    </dgm:pt>
    <dgm:pt modelId="{85986EBA-6CE9-48E0-B8F6-041C3D616484}" type="pres">
      <dgm:prSet presAssocID="{8E00B3D9-7438-4416-B605-A6731831956F}" presName="hierRoot3" presStyleCnt="0"/>
      <dgm:spPr/>
    </dgm:pt>
    <dgm:pt modelId="{4F1E8447-A514-4C39-9C32-C4FFD4E48CB0}" type="pres">
      <dgm:prSet presAssocID="{8E00B3D9-7438-4416-B605-A6731831956F}" presName="composite3" presStyleCnt="0"/>
      <dgm:spPr/>
    </dgm:pt>
    <dgm:pt modelId="{E4D31C95-6140-4F3B-BA05-7081C03CBC56}" type="pres">
      <dgm:prSet presAssocID="{8E00B3D9-7438-4416-B605-A6731831956F}" presName="image3" presStyleLbl="node3" presStyleIdx="1" presStyleCnt="3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No Touch with solid fill"/>
        </a:ext>
      </dgm:extLst>
    </dgm:pt>
    <dgm:pt modelId="{85332435-8F2B-4260-95A7-90B2362DB440}" type="pres">
      <dgm:prSet presAssocID="{8E00B3D9-7438-4416-B605-A6731831956F}" presName="text3" presStyleLbl="revTx" presStyleIdx="3" presStyleCnt="6">
        <dgm:presLayoutVars>
          <dgm:chPref val="3"/>
        </dgm:presLayoutVars>
      </dgm:prSet>
      <dgm:spPr/>
    </dgm:pt>
    <dgm:pt modelId="{0BDC3C0B-A47A-4F60-A179-68399FDC52BD}" type="pres">
      <dgm:prSet presAssocID="{8E00B3D9-7438-4416-B605-A6731831956F}" presName="hierChild4" presStyleCnt="0"/>
      <dgm:spPr/>
    </dgm:pt>
    <dgm:pt modelId="{A0997A57-BEB3-4A72-ADE4-EB65E96CE0E8}" type="pres">
      <dgm:prSet presAssocID="{D7B4AEC1-D097-4EC5-9CCC-09676C9B8C33}" presName="Name10" presStyleLbl="parChTrans1D2" presStyleIdx="1" presStyleCnt="2"/>
      <dgm:spPr/>
    </dgm:pt>
    <dgm:pt modelId="{5F565F61-11B0-4306-85E7-882161B83B53}" type="pres">
      <dgm:prSet presAssocID="{97643B9F-466E-496F-BD9B-9634E164FC1A}" presName="hierRoot2" presStyleCnt="0"/>
      <dgm:spPr/>
    </dgm:pt>
    <dgm:pt modelId="{1A3371EB-2649-4676-B359-3DC5DF25FC3C}" type="pres">
      <dgm:prSet presAssocID="{97643B9F-466E-496F-BD9B-9634E164FC1A}" presName="composite2" presStyleCnt="0"/>
      <dgm:spPr/>
    </dgm:pt>
    <dgm:pt modelId="{5BB384AC-1844-4761-952C-FB5B3D2854FC}" type="pres">
      <dgm:prSet presAssocID="{97643B9F-466E-496F-BD9B-9634E164FC1A}" presName="image2" presStyleLbl="node2" presStyleIdx="1" presStyleCnt="2"/>
      <dgm:spPr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lose with solid fill"/>
        </a:ext>
      </dgm:extLst>
    </dgm:pt>
    <dgm:pt modelId="{DDAADD88-6CFD-48AF-A6B4-1F0FA87D7331}" type="pres">
      <dgm:prSet presAssocID="{97643B9F-466E-496F-BD9B-9634E164FC1A}" presName="text2" presStyleLbl="revTx" presStyleIdx="4" presStyleCnt="6">
        <dgm:presLayoutVars>
          <dgm:chPref val="3"/>
        </dgm:presLayoutVars>
      </dgm:prSet>
      <dgm:spPr/>
    </dgm:pt>
    <dgm:pt modelId="{766A39BB-6983-49D1-BBB3-25A087917063}" type="pres">
      <dgm:prSet presAssocID="{97643B9F-466E-496F-BD9B-9634E164FC1A}" presName="hierChild3" presStyleCnt="0"/>
      <dgm:spPr/>
    </dgm:pt>
    <dgm:pt modelId="{DDE5E588-A7FB-41B8-BC4D-73C12BADC8B6}" type="pres">
      <dgm:prSet presAssocID="{6186A53C-6D8F-4AED-90D9-8A228D640825}" presName="Name17" presStyleLbl="parChTrans1D3" presStyleIdx="2" presStyleCnt="3"/>
      <dgm:spPr/>
    </dgm:pt>
    <dgm:pt modelId="{2E5EA3BA-A703-4035-9512-54AD460F4FE2}" type="pres">
      <dgm:prSet presAssocID="{497AB8E9-01C9-4BC1-A436-3B42ADEBBA8D}" presName="hierRoot3" presStyleCnt="0"/>
      <dgm:spPr/>
    </dgm:pt>
    <dgm:pt modelId="{D39104D6-9A44-42FB-B125-14A5B4A7EB03}" type="pres">
      <dgm:prSet presAssocID="{497AB8E9-01C9-4BC1-A436-3B42ADEBBA8D}" presName="composite3" presStyleCnt="0"/>
      <dgm:spPr/>
    </dgm:pt>
    <dgm:pt modelId="{DA6DB704-8B19-4C1B-9DA7-2110D0673C46}" type="pres">
      <dgm:prSet presAssocID="{497AB8E9-01C9-4BC1-A436-3B42ADEBBA8D}" presName="image3" presStyleLbl="node3" presStyleIdx="2" presStyleCnt="3"/>
      <dgm:spPr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iggy Bank with solid fill"/>
        </a:ext>
      </dgm:extLst>
    </dgm:pt>
    <dgm:pt modelId="{89849198-524D-4405-BB51-62A270D3D57D}" type="pres">
      <dgm:prSet presAssocID="{497AB8E9-01C9-4BC1-A436-3B42ADEBBA8D}" presName="text3" presStyleLbl="revTx" presStyleIdx="5" presStyleCnt="6">
        <dgm:presLayoutVars>
          <dgm:chPref val="3"/>
        </dgm:presLayoutVars>
      </dgm:prSet>
      <dgm:spPr/>
    </dgm:pt>
    <dgm:pt modelId="{60B47227-6A71-4667-B7DD-D69E908BE6D3}" type="pres">
      <dgm:prSet presAssocID="{497AB8E9-01C9-4BC1-A436-3B42ADEBBA8D}" presName="hierChild4" presStyleCnt="0"/>
      <dgm:spPr/>
    </dgm:pt>
  </dgm:ptLst>
  <dgm:cxnLst>
    <dgm:cxn modelId="{C7316E18-6396-4458-B5E5-6FD42DB8F663}" type="presOf" srcId="{D7B4AEC1-D097-4EC5-9CCC-09676C9B8C33}" destId="{A0997A57-BEB3-4A72-ADE4-EB65E96CE0E8}" srcOrd="0" destOrd="0" presId="urn:microsoft.com/office/officeart/2009/layout/CirclePictureHierarchy"/>
    <dgm:cxn modelId="{3F1C2925-3A4B-44A0-BE9A-441D95E15D5C}" type="presOf" srcId="{6CC3D62B-CC52-4110-AD1C-A932A60243F4}" destId="{02715925-9C71-4F75-8C25-2DEC4F1EFB34}" srcOrd="0" destOrd="0" presId="urn:microsoft.com/office/officeart/2009/layout/CirclePictureHierarchy"/>
    <dgm:cxn modelId="{CA928C28-DC52-429C-A79E-F9A0EFB8C6E2}" type="presOf" srcId="{9DA88695-658A-4464-8CBF-7B2238377EE3}" destId="{C137704F-E2BD-488C-BD6C-01ECD6EA4795}" srcOrd="0" destOrd="0" presId="urn:microsoft.com/office/officeart/2009/layout/CirclePictureHierarchy"/>
    <dgm:cxn modelId="{35E99128-988B-476B-BB0A-B185E2777EB4}" srcId="{9DA88695-658A-4464-8CBF-7B2238377EE3}" destId="{97643B9F-466E-496F-BD9B-9634E164FC1A}" srcOrd="1" destOrd="0" parTransId="{D7B4AEC1-D097-4EC5-9CCC-09676C9B8C33}" sibTransId="{CB653BC3-261B-4AF6-B995-199EBC93F01C}"/>
    <dgm:cxn modelId="{2F8D1A5C-93F9-49AF-B7E4-B8C4BCA0A99D}" type="presOf" srcId="{F951A0BD-6477-45F0-A0C3-9D2062E54824}" destId="{242A5515-3D65-48CF-99E9-1F9B1F7AFE81}" srcOrd="0" destOrd="0" presId="urn:microsoft.com/office/officeart/2009/layout/CirclePictureHierarchy"/>
    <dgm:cxn modelId="{BA6D7046-41AD-4FA2-B20E-B9409BC664F9}" type="presOf" srcId="{97643B9F-466E-496F-BD9B-9634E164FC1A}" destId="{DDAADD88-6CFD-48AF-A6B4-1F0FA87D7331}" srcOrd="0" destOrd="0" presId="urn:microsoft.com/office/officeart/2009/layout/CirclePictureHierarchy"/>
    <dgm:cxn modelId="{FD6A014A-48E4-4390-BC09-70B79F7018A9}" type="presOf" srcId="{B7A6EC37-B0A8-4929-A93C-352EE9B75DEF}" destId="{B3379969-EDFE-4B50-A755-0A082A8392E0}" srcOrd="0" destOrd="0" presId="urn:microsoft.com/office/officeart/2009/layout/CirclePictureHierarchy"/>
    <dgm:cxn modelId="{E890FF6F-FB13-4832-9496-05B655A76874}" type="presOf" srcId="{6186A53C-6D8F-4AED-90D9-8A228D640825}" destId="{DDE5E588-A7FB-41B8-BC4D-73C12BADC8B6}" srcOrd="0" destOrd="0" presId="urn:microsoft.com/office/officeart/2009/layout/CirclePictureHierarchy"/>
    <dgm:cxn modelId="{519A0F78-8E01-433F-ADC1-747101EB2806}" type="presOf" srcId="{5E2322E7-8561-4B92-9E38-43DC4624BAF1}" destId="{F88B3CCF-B388-4F61-9E01-A68E98586F67}" srcOrd="0" destOrd="0" presId="urn:microsoft.com/office/officeart/2009/layout/CirclePictureHierarchy"/>
    <dgm:cxn modelId="{D9D3BE79-D6DE-47B9-96CF-126AC3B7EB59}" type="presOf" srcId="{70CBD56D-15FC-488E-9BB0-7153C98A44FD}" destId="{CAF7CE16-7C55-471F-B04A-29C067A1ED8E}" srcOrd="0" destOrd="0" presId="urn:microsoft.com/office/officeart/2009/layout/CirclePictureHierarchy"/>
    <dgm:cxn modelId="{56AB8584-14FE-4384-8023-998330515248}" srcId="{97643B9F-466E-496F-BD9B-9634E164FC1A}" destId="{497AB8E9-01C9-4BC1-A436-3B42ADEBBA8D}" srcOrd="0" destOrd="0" parTransId="{6186A53C-6D8F-4AED-90D9-8A228D640825}" sibTransId="{441E3650-8A5C-4999-A7E0-389E405C24A1}"/>
    <dgm:cxn modelId="{6EEABC8D-B820-4CB1-AF4D-6527DDED962A}" srcId="{70CBD56D-15FC-488E-9BB0-7153C98A44FD}" destId="{9DA88695-658A-4464-8CBF-7B2238377EE3}" srcOrd="0" destOrd="0" parTransId="{E0FD3DA9-1F37-453D-9B6B-D3F46A578C6A}" sibTransId="{C2594D75-9F36-4C9A-8CD8-C4DD677DCB33}"/>
    <dgm:cxn modelId="{2370B39D-3AF0-42C7-B4E0-467E70EC3F2A}" srcId="{F951A0BD-6477-45F0-A0C3-9D2062E54824}" destId="{8E00B3D9-7438-4416-B605-A6731831956F}" srcOrd="1" destOrd="0" parTransId="{ACEE7473-DFDF-47AC-8628-03E738EA80AF}" sibTransId="{4E919960-6A6F-4AA9-8627-B495D3C89882}"/>
    <dgm:cxn modelId="{2B6629C9-AB51-4E51-A746-BC712DF5EFA7}" type="presOf" srcId="{ACEE7473-DFDF-47AC-8628-03E738EA80AF}" destId="{72A59A19-3BC4-44C1-B2E3-115BC37C6AE4}" srcOrd="0" destOrd="0" presId="urn:microsoft.com/office/officeart/2009/layout/CirclePictureHierarchy"/>
    <dgm:cxn modelId="{E9744EDB-DA59-4638-8BE9-DE762AB364EF}" type="presOf" srcId="{8E00B3D9-7438-4416-B605-A6731831956F}" destId="{85332435-8F2B-4260-95A7-90B2362DB440}" srcOrd="0" destOrd="0" presId="urn:microsoft.com/office/officeart/2009/layout/CirclePictureHierarchy"/>
    <dgm:cxn modelId="{7E14CAEA-2C86-46FA-91E6-C3D7B7F24716}" srcId="{F951A0BD-6477-45F0-A0C3-9D2062E54824}" destId="{B7A6EC37-B0A8-4929-A93C-352EE9B75DEF}" srcOrd="0" destOrd="0" parTransId="{5E2322E7-8561-4B92-9E38-43DC4624BAF1}" sibTransId="{0C1F0E1E-C281-4A8F-97F8-E816E068E942}"/>
    <dgm:cxn modelId="{E67E31F4-69F7-4AF3-B294-298F08BD1324}" type="presOf" srcId="{497AB8E9-01C9-4BC1-A436-3B42ADEBBA8D}" destId="{89849198-524D-4405-BB51-62A270D3D57D}" srcOrd="0" destOrd="0" presId="urn:microsoft.com/office/officeart/2009/layout/CirclePictureHierarchy"/>
    <dgm:cxn modelId="{26F972F4-8860-4163-A2FB-A688E8F306B7}" srcId="{9DA88695-658A-4464-8CBF-7B2238377EE3}" destId="{F951A0BD-6477-45F0-A0C3-9D2062E54824}" srcOrd="0" destOrd="0" parTransId="{6CC3D62B-CC52-4110-AD1C-A932A60243F4}" sibTransId="{3703EB83-E135-479F-A9AC-3470FF05781A}"/>
    <dgm:cxn modelId="{CF59192F-095C-4191-A90D-3BA654F0BBEC}" type="presParOf" srcId="{CAF7CE16-7C55-471F-B04A-29C067A1ED8E}" destId="{FC956CAA-30BD-4BBB-B111-202EE30FFDF3}" srcOrd="0" destOrd="0" presId="urn:microsoft.com/office/officeart/2009/layout/CirclePictureHierarchy"/>
    <dgm:cxn modelId="{87B5AC33-BD79-4D23-AB7C-A027C1A3F1E1}" type="presParOf" srcId="{FC956CAA-30BD-4BBB-B111-202EE30FFDF3}" destId="{79A137D9-26DB-41CB-9FFA-65B7AADE75C4}" srcOrd="0" destOrd="0" presId="urn:microsoft.com/office/officeart/2009/layout/CirclePictureHierarchy"/>
    <dgm:cxn modelId="{07E35AAE-0153-4EF0-BBDC-1AA668305918}" type="presParOf" srcId="{79A137D9-26DB-41CB-9FFA-65B7AADE75C4}" destId="{9382D173-BBD8-468A-BFD6-2F412E15A3AA}" srcOrd="0" destOrd="0" presId="urn:microsoft.com/office/officeart/2009/layout/CirclePictureHierarchy"/>
    <dgm:cxn modelId="{FFCD063F-E636-4CFE-A982-6227756057F2}" type="presParOf" srcId="{79A137D9-26DB-41CB-9FFA-65B7AADE75C4}" destId="{C137704F-E2BD-488C-BD6C-01ECD6EA4795}" srcOrd="1" destOrd="0" presId="urn:microsoft.com/office/officeart/2009/layout/CirclePictureHierarchy"/>
    <dgm:cxn modelId="{CFE650F9-F2D8-4195-9AD2-C1BFAF1F4F38}" type="presParOf" srcId="{FC956CAA-30BD-4BBB-B111-202EE30FFDF3}" destId="{A572DCDE-606B-4849-9126-4DEE0F9C968C}" srcOrd="1" destOrd="0" presId="urn:microsoft.com/office/officeart/2009/layout/CirclePictureHierarchy"/>
    <dgm:cxn modelId="{B82AE747-5678-4856-A1F7-561E4453FC61}" type="presParOf" srcId="{A572DCDE-606B-4849-9126-4DEE0F9C968C}" destId="{02715925-9C71-4F75-8C25-2DEC4F1EFB34}" srcOrd="0" destOrd="0" presId="urn:microsoft.com/office/officeart/2009/layout/CirclePictureHierarchy"/>
    <dgm:cxn modelId="{8DEF0AAE-4447-418A-A58F-9D8942627BF1}" type="presParOf" srcId="{A572DCDE-606B-4849-9126-4DEE0F9C968C}" destId="{BAF11527-51C4-457D-8EBA-410BAA8E9906}" srcOrd="1" destOrd="0" presId="urn:microsoft.com/office/officeart/2009/layout/CirclePictureHierarchy"/>
    <dgm:cxn modelId="{96191F28-6D7F-4E08-A9E1-4AA3DC8A9BA6}" type="presParOf" srcId="{BAF11527-51C4-457D-8EBA-410BAA8E9906}" destId="{60572029-0AB9-4A1A-99D8-08A895A8569C}" srcOrd="0" destOrd="0" presId="urn:microsoft.com/office/officeart/2009/layout/CirclePictureHierarchy"/>
    <dgm:cxn modelId="{69676C80-ECE7-4D67-B4FD-608384CC3CFF}" type="presParOf" srcId="{60572029-0AB9-4A1A-99D8-08A895A8569C}" destId="{2985AD6C-B8E7-47EF-8A4B-2D1492695B74}" srcOrd="0" destOrd="0" presId="urn:microsoft.com/office/officeart/2009/layout/CirclePictureHierarchy"/>
    <dgm:cxn modelId="{6610C271-EA97-4BBE-93B5-15168A9E0301}" type="presParOf" srcId="{60572029-0AB9-4A1A-99D8-08A895A8569C}" destId="{242A5515-3D65-48CF-99E9-1F9B1F7AFE81}" srcOrd="1" destOrd="0" presId="urn:microsoft.com/office/officeart/2009/layout/CirclePictureHierarchy"/>
    <dgm:cxn modelId="{5BB356BE-661E-457C-9D26-347BB8106E3E}" type="presParOf" srcId="{BAF11527-51C4-457D-8EBA-410BAA8E9906}" destId="{B651A5CD-74CF-4964-BF38-B067F0512214}" srcOrd="1" destOrd="0" presId="urn:microsoft.com/office/officeart/2009/layout/CirclePictureHierarchy"/>
    <dgm:cxn modelId="{C847DA3C-2563-4DB9-B692-782FC8F5F818}" type="presParOf" srcId="{B651A5CD-74CF-4964-BF38-B067F0512214}" destId="{F88B3CCF-B388-4F61-9E01-A68E98586F67}" srcOrd="0" destOrd="0" presId="urn:microsoft.com/office/officeart/2009/layout/CirclePictureHierarchy"/>
    <dgm:cxn modelId="{901017CD-4B20-4CDD-A05E-A30C71AE4FBF}" type="presParOf" srcId="{B651A5CD-74CF-4964-BF38-B067F0512214}" destId="{23A984AB-60C0-4F51-9845-B1546934DA4F}" srcOrd="1" destOrd="0" presId="urn:microsoft.com/office/officeart/2009/layout/CirclePictureHierarchy"/>
    <dgm:cxn modelId="{BB48E468-1C39-47F2-AF56-3D1931BEE2DD}" type="presParOf" srcId="{23A984AB-60C0-4F51-9845-B1546934DA4F}" destId="{6AC1D22A-72FF-41D8-B6AC-276A1476E342}" srcOrd="0" destOrd="0" presId="urn:microsoft.com/office/officeart/2009/layout/CirclePictureHierarchy"/>
    <dgm:cxn modelId="{32EC2BC7-9428-4743-838D-8E27215DDDB4}" type="presParOf" srcId="{6AC1D22A-72FF-41D8-B6AC-276A1476E342}" destId="{B0687140-AE12-4B89-A5EA-7B6A47FD2A95}" srcOrd="0" destOrd="0" presId="urn:microsoft.com/office/officeart/2009/layout/CirclePictureHierarchy"/>
    <dgm:cxn modelId="{A76467F2-0F2C-4794-988F-4BA05EECFFD1}" type="presParOf" srcId="{6AC1D22A-72FF-41D8-B6AC-276A1476E342}" destId="{B3379969-EDFE-4B50-A755-0A082A8392E0}" srcOrd="1" destOrd="0" presId="urn:microsoft.com/office/officeart/2009/layout/CirclePictureHierarchy"/>
    <dgm:cxn modelId="{BBBE5A26-F0D6-4011-989F-8C92A97E5789}" type="presParOf" srcId="{23A984AB-60C0-4F51-9845-B1546934DA4F}" destId="{276AEDA7-A395-4D72-9F33-95CAA230BC94}" srcOrd="1" destOrd="0" presId="urn:microsoft.com/office/officeart/2009/layout/CirclePictureHierarchy"/>
    <dgm:cxn modelId="{23F0D575-4E73-4292-AA06-BEB488B3288A}" type="presParOf" srcId="{B651A5CD-74CF-4964-BF38-B067F0512214}" destId="{72A59A19-3BC4-44C1-B2E3-115BC37C6AE4}" srcOrd="2" destOrd="0" presId="urn:microsoft.com/office/officeart/2009/layout/CirclePictureHierarchy"/>
    <dgm:cxn modelId="{C9AB23D1-F815-46E0-A212-B519A1E2D6D2}" type="presParOf" srcId="{B651A5CD-74CF-4964-BF38-B067F0512214}" destId="{85986EBA-6CE9-48E0-B8F6-041C3D616484}" srcOrd="3" destOrd="0" presId="urn:microsoft.com/office/officeart/2009/layout/CirclePictureHierarchy"/>
    <dgm:cxn modelId="{36128340-D059-4E5C-B0A3-E305AFCF9AE9}" type="presParOf" srcId="{85986EBA-6CE9-48E0-B8F6-041C3D616484}" destId="{4F1E8447-A514-4C39-9C32-C4FFD4E48CB0}" srcOrd="0" destOrd="0" presId="urn:microsoft.com/office/officeart/2009/layout/CirclePictureHierarchy"/>
    <dgm:cxn modelId="{B2520628-533B-46F7-80B1-56C31DF5ED34}" type="presParOf" srcId="{4F1E8447-A514-4C39-9C32-C4FFD4E48CB0}" destId="{E4D31C95-6140-4F3B-BA05-7081C03CBC56}" srcOrd="0" destOrd="0" presId="urn:microsoft.com/office/officeart/2009/layout/CirclePictureHierarchy"/>
    <dgm:cxn modelId="{A689E3A2-DC51-4353-834B-BCA085EB977E}" type="presParOf" srcId="{4F1E8447-A514-4C39-9C32-C4FFD4E48CB0}" destId="{85332435-8F2B-4260-95A7-90B2362DB440}" srcOrd="1" destOrd="0" presId="urn:microsoft.com/office/officeart/2009/layout/CirclePictureHierarchy"/>
    <dgm:cxn modelId="{66C3F020-8E37-47F9-8CB1-9DCC1091EB19}" type="presParOf" srcId="{85986EBA-6CE9-48E0-B8F6-041C3D616484}" destId="{0BDC3C0B-A47A-4F60-A179-68399FDC52BD}" srcOrd="1" destOrd="0" presId="urn:microsoft.com/office/officeart/2009/layout/CirclePictureHierarchy"/>
    <dgm:cxn modelId="{9C1915FD-C7EB-4390-ADA7-8E0B78C2B230}" type="presParOf" srcId="{A572DCDE-606B-4849-9126-4DEE0F9C968C}" destId="{A0997A57-BEB3-4A72-ADE4-EB65E96CE0E8}" srcOrd="2" destOrd="0" presId="urn:microsoft.com/office/officeart/2009/layout/CirclePictureHierarchy"/>
    <dgm:cxn modelId="{A926A7E5-E041-4C92-9B73-1D190FD06806}" type="presParOf" srcId="{A572DCDE-606B-4849-9126-4DEE0F9C968C}" destId="{5F565F61-11B0-4306-85E7-882161B83B53}" srcOrd="3" destOrd="0" presId="urn:microsoft.com/office/officeart/2009/layout/CirclePictureHierarchy"/>
    <dgm:cxn modelId="{A6BC43F3-386F-41AB-82B7-3520435C8C76}" type="presParOf" srcId="{5F565F61-11B0-4306-85E7-882161B83B53}" destId="{1A3371EB-2649-4676-B359-3DC5DF25FC3C}" srcOrd="0" destOrd="0" presId="urn:microsoft.com/office/officeart/2009/layout/CirclePictureHierarchy"/>
    <dgm:cxn modelId="{F3973741-9F3A-48C4-8715-7F879280B96E}" type="presParOf" srcId="{1A3371EB-2649-4676-B359-3DC5DF25FC3C}" destId="{5BB384AC-1844-4761-952C-FB5B3D2854FC}" srcOrd="0" destOrd="0" presId="urn:microsoft.com/office/officeart/2009/layout/CirclePictureHierarchy"/>
    <dgm:cxn modelId="{9D92F688-73D1-4569-942E-C4D8D4313948}" type="presParOf" srcId="{1A3371EB-2649-4676-B359-3DC5DF25FC3C}" destId="{DDAADD88-6CFD-48AF-A6B4-1F0FA87D7331}" srcOrd="1" destOrd="0" presId="urn:microsoft.com/office/officeart/2009/layout/CirclePictureHierarchy"/>
    <dgm:cxn modelId="{5659C6A2-8C19-4486-B063-3D959D589461}" type="presParOf" srcId="{5F565F61-11B0-4306-85E7-882161B83B53}" destId="{766A39BB-6983-49D1-BBB3-25A087917063}" srcOrd="1" destOrd="0" presId="urn:microsoft.com/office/officeart/2009/layout/CirclePictureHierarchy"/>
    <dgm:cxn modelId="{06917165-454B-4A17-B5B7-D89863F23FFF}" type="presParOf" srcId="{766A39BB-6983-49D1-BBB3-25A087917063}" destId="{DDE5E588-A7FB-41B8-BC4D-73C12BADC8B6}" srcOrd="0" destOrd="0" presId="urn:microsoft.com/office/officeart/2009/layout/CirclePictureHierarchy"/>
    <dgm:cxn modelId="{F9B25374-B263-4D48-8BD8-50A0E798FAD6}" type="presParOf" srcId="{766A39BB-6983-49D1-BBB3-25A087917063}" destId="{2E5EA3BA-A703-4035-9512-54AD460F4FE2}" srcOrd="1" destOrd="0" presId="urn:microsoft.com/office/officeart/2009/layout/CirclePictureHierarchy"/>
    <dgm:cxn modelId="{6CD3FBF4-B344-4B54-9E3F-B03F215DD66C}" type="presParOf" srcId="{2E5EA3BA-A703-4035-9512-54AD460F4FE2}" destId="{D39104D6-9A44-42FB-B125-14A5B4A7EB03}" srcOrd="0" destOrd="0" presId="urn:microsoft.com/office/officeart/2009/layout/CirclePictureHierarchy"/>
    <dgm:cxn modelId="{A7FD1105-0AF2-47F7-8146-4876AC3A8D85}" type="presParOf" srcId="{D39104D6-9A44-42FB-B125-14A5B4A7EB03}" destId="{DA6DB704-8B19-4C1B-9DA7-2110D0673C46}" srcOrd="0" destOrd="0" presId="urn:microsoft.com/office/officeart/2009/layout/CirclePictureHierarchy"/>
    <dgm:cxn modelId="{158030C3-7B14-460E-93FB-25A5D27D7A09}" type="presParOf" srcId="{D39104D6-9A44-42FB-B125-14A5B4A7EB03}" destId="{89849198-524D-4405-BB51-62A270D3D57D}" srcOrd="1" destOrd="0" presId="urn:microsoft.com/office/officeart/2009/layout/CirclePictureHierarchy"/>
    <dgm:cxn modelId="{A9E54CD2-ACD0-40DC-9FC1-002366A739F9}" type="presParOf" srcId="{2E5EA3BA-A703-4035-9512-54AD460F4FE2}" destId="{60B47227-6A71-4667-B7DD-D69E908BE6D3}" srcOrd="1" destOrd="0" presId="urn:microsoft.com/office/officeart/2009/layout/CirclePicture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1B86659-DCCE-4AAC-8956-2FC60B610D0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0469B09C-BFAC-4B78-8D01-094A2A78CB51}">
      <dgm:prSet phldrT="[Text]"/>
      <dgm:spPr/>
      <dgm:t>
        <a:bodyPr/>
        <a:lstStyle/>
        <a:p>
          <a:r>
            <a:rPr lang="en-US"/>
            <a:t>Lower lifetime income</a:t>
          </a:r>
          <a:endParaRPr lang="en-AU"/>
        </a:p>
      </dgm:t>
    </dgm:pt>
    <dgm:pt modelId="{F3C67D7C-9251-4B7A-855D-0F9A397BF48A}" type="parTrans" cxnId="{10B3C2A0-14EA-4E32-98E0-6A518B4E202C}">
      <dgm:prSet/>
      <dgm:spPr/>
      <dgm:t>
        <a:bodyPr/>
        <a:lstStyle/>
        <a:p>
          <a:endParaRPr lang="en-AU"/>
        </a:p>
      </dgm:t>
    </dgm:pt>
    <dgm:pt modelId="{B3D9AB8B-3025-43DF-84B0-7499710197E2}" type="sibTrans" cxnId="{10B3C2A0-14EA-4E32-98E0-6A518B4E202C}">
      <dgm:prSet/>
      <dgm:spPr/>
      <dgm:t>
        <a:bodyPr/>
        <a:lstStyle/>
        <a:p>
          <a:endParaRPr lang="en-AU"/>
        </a:p>
      </dgm:t>
    </dgm:pt>
    <dgm:pt modelId="{3050C048-CCF1-4B9E-8BD9-147D273E34BE}">
      <dgm:prSet phldrT="[Text]"/>
      <dgm:spPr/>
      <dgm:t>
        <a:bodyPr/>
        <a:lstStyle/>
        <a:p>
          <a:r>
            <a:rPr lang="en-US"/>
            <a:t>Insufficient liquidity</a:t>
          </a:r>
          <a:endParaRPr lang="en-AU"/>
        </a:p>
      </dgm:t>
    </dgm:pt>
    <dgm:pt modelId="{4A78CED7-A380-491C-B2CE-BEC71DB8E6F9}" type="parTrans" cxnId="{973B2924-961B-4301-A536-9F6BA034D18B}">
      <dgm:prSet/>
      <dgm:spPr/>
      <dgm:t>
        <a:bodyPr/>
        <a:lstStyle/>
        <a:p>
          <a:endParaRPr lang="en-AU"/>
        </a:p>
      </dgm:t>
    </dgm:pt>
    <dgm:pt modelId="{D3E99FE3-3FDC-40E6-9DF2-528329BF9FE9}" type="sibTrans" cxnId="{973B2924-961B-4301-A536-9F6BA034D18B}">
      <dgm:prSet/>
      <dgm:spPr/>
      <dgm:t>
        <a:bodyPr/>
        <a:lstStyle/>
        <a:p>
          <a:endParaRPr lang="en-AU"/>
        </a:p>
      </dgm:t>
    </dgm:pt>
    <dgm:pt modelId="{8ECE1759-E83E-4C51-BB3A-DD492391EF24}">
      <dgm:prSet phldrT="[Text]"/>
      <dgm:spPr/>
      <dgm:t>
        <a:bodyPr/>
        <a:lstStyle/>
        <a:p>
          <a:r>
            <a:rPr lang="en-US"/>
            <a:t>Uncertainty</a:t>
          </a:r>
          <a:endParaRPr lang="en-AU"/>
        </a:p>
      </dgm:t>
    </dgm:pt>
    <dgm:pt modelId="{7CAB2011-231C-4E1D-B9E4-44FAA52584E8}" type="parTrans" cxnId="{1027E007-707A-4DA3-BFE1-307C9422B85A}">
      <dgm:prSet/>
      <dgm:spPr/>
      <dgm:t>
        <a:bodyPr/>
        <a:lstStyle/>
        <a:p>
          <a:endParaRPr lang="en-AU"/>
        </a:p>
      </dgm:t>
    </dgm:pt>
    <dgm:pt modelId="{F5FCE303-BC78-408F-AD80-B385C1FBE422}" type="sibTrans" cxnId="{1027E007-707A-4DA3-BFE1-307C9422B85A}">
      <dgm:prSet/>
      <dgm:spPr/>
      <dgm:t>
        <a:bodyPr/>
        <a:lstStyle/>
        <a:p>
          <a:endParaRPr lang="en-AU"/>
        </a:p>
      </dgm:t>
    </dgm:pt>
    <dgm:pt modelId="{5F8AF88D-E910-44D4-BFF2-891D2E15F60F}">
      <dgm:prSet phldrT="[Text]"/>
      <dgm:spPr>
        <a:solidFill>
          <a:schemeClr val="accent4"/>
        </a:solidFill>
      </dgm:spPr>
      <dgm:t>
        <a:bodyPr/>
        <a:lstStyle/>
        <a:p>
          <a:r>
            <a:rPr lang="en-US"/>
            <a:t>Lower expenses (work related costs)</a:t>
          </a:r>
          <a:endParaRPr lang="en-AU"/>
        </a:p>
      </dgm:t>
    </dgm:pt>
    <dgm:pt modelId="{08CAB302-9CE3-4D99-9DA2-D4677DEB2C23}" type="parTrans" cxnId="{274CA1A3-B210-4805-BB4B-F8920DF8E351}">
      <dgm:prSet/>
      <dgm:spPr/>
      <dgm:t>
        <a:bodyPr/>
        <a:lstStyle/>
        <a:p>
          <a:endParaRPr lang="en-AU"/>
        </a:p>
      </dgm:t>
    </dgm:pt>
    <dgm:pt modelId="{EF57632D-45CD-4D85-97DA-7F2844222182}" type="sibTrans" cxnId="{274CA1A3-B210-4805-BB4B-F8920DF8E351}">
      <dgm:prSet/>
      <dgm:spPr/>
      <dgm:t>
        <a:bodyPr/>
        <a:lstStyle/>
        <a:p>
          <a:endParaRPr lang="en-AU"/>
        </a:p>
      </dgm:t>
    </dgm:pt>
    <dgm:pt modelId="{B2EA364A-D1C8-48A7-93B4-4EA8D661E7DD}" type="pres">
      <dgm:prSet presAssocID="{91B86659-DCCE-4AAC-8956-2FC60B610D0C}" presName="linear" presStyleCnt="0">
        <dgm:presLayoutVars>
          <dgm:dir/>
          <dgm:animLvl val="lvl"/>
          <dgm:resizeHandles val="exact"/>
        </dgm:presLayoutVars>
      </dgm:prSet>
      <dgm:spPr/>
    </dgm:pt>
    <dgm:pt modelId="{D42D3759-BD58-4AF4-BA3D-46542A707B22}" type="pres">
      <dgm:prSet presAssocID="{0469B09C-BFAC-4B78-8D01-094A2A78CB51}" presName="parentLin" presStyleCnt="0"/>
      <dgm:spPr/>
    </dgm:pt>
    <dgm:pt modelId="{994B5136-6593-4462-B285-933B72F6D8C4}" type="pres">
      <dgm:prSet presAssocID="{0469B09C-BFAC-4B78-8D01-094A2A78CB51}" presName="parentLeftMargin" presStyleLbl="node1" presStyleIdx="0" presStyleCnt="4"/>
      <dgm:spPr/>
    </dgm:pt>
    <dgm:pt modelId="{FC1D7D01-17AA-4EAD-A6BA-1D3DCCD8F497}" type="pres">
      <dgm:prSet presAssocID="{0469B09C-BFAC-4B78-8D01-094A2A78CB51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5AA7CF81-01E9-4B2D-A83B-2D47F39A00D7}" type="pres">
      <dgm:prSet presAssocID="{0469B09C-BFAC-4B78-8D01-094A2A78CB51}" presName="negativeSpace" presStyleCnt="0"/>
      <dgm:spPr/>
    </dgm:pt>
    <dgm:pt modelId="{DAE6DB8B-932B-486D-AA17-8218AD866F63}" type="pres">
      <dgm:prSet presAssocID="{0469B09C-BFAC-4B78-8D01-094A2A78CB51}" presName="childText" presStyleLbl="conFgAcc1" presStyleIdx="0" presStyleCnt="4">
        <dgm:presLayoutVars>
          <dgm:bulletEnabled val="1"/>
        </dgm:presLayoutVars>
      </dgm:prSet>
      <dgm:spPr/>
    </dgm:pt>
    <dgm:pt modelId="{457A2F44-AC50-41B9-8715-CA74B0B38BC8}" type="pres">
      <dgm:prSet presAssocID="{B3D9AB8B-3025-43DF-84B0-7499710197E2}" presName="spaceBetweenRectangles" presStyleCnt="0"/>
      <dgm:spPr/>
    </dgm:pt>
    <dgm:pt modelId="{88A62CFB-1583-41E1-A3EC-EDE4FDC5B151}" type="pres">
      <dgm:prSet presAssocID="{3050C048-CCF1-4B9E-8BD9-147D273E34BE}" presName="parentLin" presStyleCnt="0"/>
      <dgm:spPr/>
    </dgm:pt>
    <dgm:pt modelId="{1F71A354-F19A-49C9-AAB1-EC731D57468E}" type="pres">
      <dgm:prSet presAssocID="{3050C048-CCF1-4B9E-8BD9-147D273E34BE}" presName="parentLeftMargin" presStyleLbl="node1" presStyleIdx="0" presStyleCnt="4"/>
      <dgm:spPr/>
    </dgm:pt>
    <dgm:pt modelId="{A316E261-ADA1-4BCD-9FAC-F1C71E8EC68F}" type="pres">
      <dgm:prSet presAssocID="{3050C048-CCF1-4B9E-8BD9-147D273E34B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BF57D4F-2D3E-4EC1-A2BE-7AD4AA16B420}" type="pres">
      <dgm:prSet presAssocID="{3050C048-CCF1-4B9E-8BD9-147D273E34BE}" presName="negativeSpace" presStyleCnt="0"/>
      <dgm:spPr/>
    </dgm:pt>
    <dgm:pt modelId="{FC7931F7-A84A-4B6C-B6B2-E47382BA84A5}" type="pres">
      <dgm:prSet presAssocID="{3050C048-CCF1-4B9E-8BD9-147D273E34BE}" presName="childText" presStyleLbl="conFgAcc1" presStyleIdx="1" presStyleCnt="4">
        <dgm:presLayoutVars>
          <dgm:bulletEnabled val="1"/>
        </dgm:presLayoutVars>
      </dgm:prSet>
      <dgm:spPr/>
    </dgm:pt>
    <dgm:pt modelId="{BB8FF018-933E-473D-AB31-99A08B130433}" type="pres">
      <dgm:prSet presAssocID="{D3E99FE3-3FDC-40E6-9DF2-528329BF9FE9}" presName="spaceBetweenRectangles" presStyleCnt="0"/>
      <dgm:spPr/>
    </dgm:pt>
    <dgm:pt modelId="{81F8EEDE-3FE8-4EF3-9CEC-44D5C6E50FF8}" type="pres">
      <dgm:prSet presAssocID="{8ECE1759-E83E-4C51-BB3A-DD492391EF24}" presName="parentLin" presStyleCnt="0"/>
      <dgm:spPr/>
    </dgm:pt>
    <dgm:pt modelId="{E7F52686-20CF-4158-AF0B-BA2C53C134E6}" type="pres">
      <dgm:prSet presAssocID="{8ECE1759-E83E-4C51-BB3A-DD492391EF24}" presName="parentLeftMargin" presStyleLbl="node1" presStyleIdx="1" presStyleCnt="4"/>
      <dgm:spPr/>
    </dgm:pt>
    <dgm:pt modelId="{0E48E7AC-001A-4DFF-8582-0B93BEAEF8D9}" type="pres">
      <dgm:prSet presAssocID="{8ECE1759-E83E-4C51-BB3A-DD492391EF2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83EDA414-46C1-4369-B1D5-3BDCCA145B47}" type="pres">
      <dgm:prSet presAssocID="{8ECE1759-E83E-4C51-BB3A-DD492391EF24}" presName="negativeSpace" presStyleCnt="0"/>
      <dgm:spPr/>
    </dgm:pt>
    <dgm:pt modelId="{92D3FAC1-6FD5-4F3A-BD9E-217934C2619B}" type="pres">
      <dgm:prSet presAssocID="{8ECE1759-E83E-4C51-BB3A-DD492391EF24}" presName="childText" presStyleLbl="conFgAcc1" presStyleIdx="2" presStyleCnt="4">
        <dgm:presLayoutVars>
          <dgm:bulletEnabled val="1"/>
        </dgm:presLayoutVars>
      </dgm:prSet>
      <dgm:spPr/>
    </dgm:pt>
    <dgm:pt modelId="{2268F958-9893-4050-880D-0830309AC329}" type="pres">
      <dgm:prSet presAssocID="{F5FCE303-BC78-408F-AD80-B385C1FBE422}" presName="spaceBetweenRectangles" presStyleCnt="0"/>
      <dgm:spPr/>
    </dgm:pt>
    <dgm:pt modelId="{E71851DA-613E-4C9C-9FCA-CB11A38A426E}" type="pres">
      <dgm:prSet presAssocID="{5F8AF88D-E910-44D4-BFF2-891D2E15F60F}" presName="parentLin" presStyleCnt="0"/>
      <dgm:spPr/>
    </dgm:pt>
    <dgm:pt modelId="{68749C50-B2A3-4B74-A639-8D41542AE981}" type="pres">
      <dgm:prSet presAssocID="{5F8AF88D-E910-44D4-BFF2-891D2E15F60F}" presName="parentLeftMargin" presStyleLbl="node1" presStyleIdx="2" presStyleCnt="4"/>
      <dgm:spPr/>
    </dgm:pt>
    <dgm:pt modelId="{ACC828A0-BD86-40D7-9E61-536014235759}" type="pres">
      <dgm:prSet presAssocID="{5F8AF88D-E910-44D4-BFF2-891D2E15F60F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C24FDE02-B821-48F1-A588-2F1427BCFCE9}" type="pres">
      <dgm:prSet presAssocID="{5F8AF88D-E910-44D4-BFF2-891D2E15F60F}" presName="negativeSpace" presStyleCnt="0"/>
      <dgm:spPr/>
    </dgm:pt>
    <dgm:pt modelId="{ECCDF723-D7C1-41C2-879C-F625502B8F99}" type="pres">
      <dgm:prSet presAssocID="{5F8AF88D-E910-44D4-BFF2-891D2E15F60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1027E007-707A-4DA3-BFE1-307C9422B85A}" srcId="{91B86659-DCCE-4AAC-8956-2FC60B610D0C}" destId="{8ECE1759-E83E-4C51-BB3A-DD492391EF24}" srcOrd="2" destOrd="0" parTransId="{7CAB2011-231C-4E1D-B9E4-44FAA52584E8}" sibTransId="{F5FCE303-BC78-408F-AD80-B385C1FBE422}"/>
    <dgm:cxn modelId="{87914C1C-EF91-4D2E-9118-79EBE87408D1}" type="presOf" srcId="{3050C048-CCF1-4B9E-8BD9-147D273E34BE}" destId="{A316E261-ADA1-4BCD-9FAC-F1C71E8EC68F}" srcOrd="1" destOrd="0" presId="urn:microsoft.com/office/officeart/2005/8/layout/list1"/>
    <dgm:cxn modelId="{973B2924-961B-4301-A536-9F6BA034D18B}" srcId="{91B86659-DCCE-4AAC-8956-2FC60B610D0C}" destId="{3050C048-CCF1-4B9E-8BD9-147D273E34BE}" srcOrd="1" destOrd="0" parTransId="{4A78CED7-A380-491C-B2CE-BEC71DB8E6F9}" sibTransId="{D3E99FE3-3FDC-40E6-9DF2-528329BF9FE9}"/>
    <dgm:cxn modelId="{3CEAF739-AAC7-4FAC-A6D2-FCD38F6ADDDA}" type="presOf" srcId="{8ECE1759-E83E-4C51-BB3A-DD492391EF24}" destId="{E7F52686-20CF-4158-AF0B-BA2C53C134E6}" srcOrd="0" destOrd="0" presId="urn:microsoft.com/office/officeart/2005/8/layout/list1"/>
    <dgm:cxn modelId="{3A655E42-4DEE-4D7F-B4B0-1237FDB1A0F0}" type="presOf" srcId="{5F8AF88D-E910-44D4-BFF2-891D2E15F60F}" destId="{68749C50-B2A3-4B74-A639-8D41542AE981}" srcOrd="0" destOrd="0" presId="urn:microsoft.com/office/officeart/2005/8/layout/list1"/>
    <dgm:cxn modelId="{D549B56F-20A2-4372-B85F-C915CB88AF24}" type="presOf" srcId="{0469B09C-BFAC-4B78-8D01-094A2A78CB51}" destId="{994B5136-6593-4462-B285-933B72F6D8C4}" srcOrd="0" destOrd="0" presId="urn:microsoft.com/office/officeart/2005/8/layout/list1"/>
    <dgm:cxn modelId="{DD683972-2F91-460B-B066-E56D899C0E44}" type="presOf" srcId="{3050C048-CCF1-4B9E-8BD9-147D273E34BE}" destId="{1F71A354-F19A-49C9-AAB1-EC731D57468E}" srcOrd="0" destOrd="0" presId="urn:microsoft.com/office/officeart/2005/8/layout/list1"/>
    <dgm:cxn modelId="{2F175376-A9F6-4285-B757-D1C426E10A04}" type="presOf" srcId="{8ECE1759-E83E-4C51-BB3A-DD492391EF24}" destId="{0E48E7AC-001A-4DFF-8582-0B93BEAEF8D9}" srcOrd="1" destOrd="0" presId="urn:microsoft.com/office/officeart/2005/8/layout/list1"/>
    <dgm:cxn modelId="{F1EDFB78-5E89-472F-AD25-B9ED24308AA0}" type="presOf" srcId="{5F8AF88D-E910-44D4-BFF2-891D2E15F60F}" destId="{ACC828A0-BD86-40D7-9E61-536014235759}" srcOrd="1" destOrd="0" presId="urn:microsoft.com/office/officeart/2005/8/layout/list1"/>
    <dgm:cxn modelId="{10B3C2A0-14EA-4E32-98E0-6A518B4E202C}" srcId="{91B86659-DCCE-4AAC-8956-2FC60B610D0C}" destId="{0469B09C-BFAC-4B78-8D01-094A2A78CB51}" srcOrd="0" destOrd="0" parTransId="{F3C67D7C-9251-4B7A-855D-0F9A397BF48A}" sibTransId="{B3D9AB8B-3025-43DF-84B0-7499710197E2}"/>
    <dgm:cxn modelId="{274CA1A3-B210-4805-BB4B-F8920DF8E351}" srcId="{91B86659-DCCE-4AAC-8956-2FC60B610D0C}" destId="{5F8AF88D-E910-44D4-BFF2-891D2E15F60F}" srcOrd="3" destOrd="0" parTransId="{08CAB302-9CE3-4D99-9DA2-D4677DEB2C23}" sibTransId="{EF57632D-45CD-4D85-97DA-7F2844222182}"/>
    <dgm:cxn modelId="{1923BCA4-4F67-49F8-BB3A-41A5A47D0874}" type="presOf" srcId="{91B86659-DCCE-4AAC-8956-2FC60B610D0C}" destId="{B2EA364A-D1C8-48A7-93B4-4EA8D661E7DD}" srcOrd="0" destOrd="0" presId="urn:microsoft.com/office/officeart/2005/8/layout/list1"/>
    <dgm:cxn modelId="{E5E076E0-2025-4ACF-83AB-54972E631FC5}" type="presOf" srcId="{0469B09C-BFAC-4B78-8D01-094A2A78CB51}" destId="{FC1D7D01-17AA-4EAD-A6BA-1D3DCCD8F497}" srcOrd="1" destOrd="0" presId="urn:microsoft.com/office/officeart/2005/8/layout/list1"/>
    <dgm:cxn modelId="{F55BE421-5ECE-443E-B318-B170EB8F290D}" type="presParOf" srcId="{B2EA364A-D1C8-48A7-93B4-4EA8D661E7DD}" destId="{D42D3759-BD58-4AF4-BA3D-46542A707B22}" srcOrd="0" destOrd="0" presId="urn:microsoft.com/office/officeart/2005/8/layout/list1"/>
    <dgm:cxn modelId="{FCA1E6AA-61FD-4C98-9833-2AC6E6AE3456}" type="presParOf" srcId="{D42D3759-BD58-4AF4-BA3D-46542A707B22}" destId="{994B5136-6593-4462-B285-933B72F6D8C4}" srcOrd="0" destOrd="0" presId="urn:microsoft.com/office/officeart/2005/8/layout/list1"/>
    <dgm:cxn modelId="{E1A40302-5C99-4BD8-87D4-BDD721C20926}" type="presParOf" srcId="{D42D3759-BD58-4AF4-BA3D-46542A707B22}" destId="{FC1D7D01-17AA-4EAD-A6BA-1D3DCCD8F497}" srcOrd="1" destOrd="0" presId="urn:microsoft.com/office/officeart/2005/8/layout/list1"/>
    <dgm:cxn modelId="{7994E4AA-F43B-4AB6-96CA-311D5E5D89AA}" type="presParOf" srcId="{B2EA364A-D1C8-48A7-93B4-4EA8D661E7DD}" destId="{5AA7CF81-01E9-4B2D-A83B-2D47F39A00D7}" srcOrd="1" destOrd="0" presId="urn:microsoft.com/office/officeart/2005/8/layout/list1"/>
    <dgm:cxn modelId="{1E12B5B8-2265-4F85-A950-FCD81C15F402}" type="presParOf" srcId="{B2EA364A-D1C8-48A7-93B4-4EA8D661E7DD}" destId="{DAE6DB8B-932B-486D-AA17-8218AD866F63}" srcOrd="2" destOrd="0" presId="urn:microsoft.com/office/officeart/2005/8/layout/list1"/>
    <dgm:cxn modelId="{B3D37286-5C0C-4783-A03F-9E639D282D8C}" type="presParOf" srcId="{B2EA364A-D1C8-48A7-93B4-4EA8D661E7DD}" destId="{457A2F44-AC50-41B9-8715-CA74B0B38BC8}" srcOrd="3" destOrd="0" presId="urn:microsoft.com/office/officeart/2005/8/layout/list1"/>
    <dgm:cxn modelId="{C5A6B848-F88F-4DFF-BBBF-CF3074098CFB}" type="presParOf" srcId="{B2EA364A-D1C8-48A7-93B4-4EA8D661E7DD}" destId="{88A62CFB-1583-41E1-A3EC-EDE4FDC5B151}" srcOrd="4" destOrd="0" presId="urn:microsoft.com/office/officeart/2005/8/layout/list1"/>
    <dgm:cxn modelId="{D4BF4679-EABF-4857-878A-7CEACE1AE6B7}" type="presParOf" srcId="{88A62CFB-1583-41E1-A3EC-EDE4FDC5B151}" destId="{1F71A354-F19A-49C9-AAB1-EC731D57468E}" srcOrd="0" destOrd="0" presId="urn:microsoft.com/office/officeart/2005/8/layout/list1"/>
    <dgm:cxn modelId="{A0A378DF-7225-4F04-80FF-9A6650920624}" type="presParOf" srcId="{88A62CFB-1583-41E1-A3EC-EDE4FDC5B151}" destId="{A316E261-ADA1-4BCD-9FAC-F1C71E8EC68F}" srcOrd="1" destOrd="0" presId="urn:microsoft.com/office/officeart/2005/8/layout/list1"/>
    <dgm:cxn modelId="{6DA290FD-37FB-46AA-814A-9C6ABED0CF9B}" type="presParOf" srcId="{B2EA364A-D1C8-48A7-93B4-4EA8D661E7DD}" destId="{FBF57D4F-2D3E-4EC1-A2BE-7AD4AA16B420}" srcOrd="5" destOrd="0" presId="urn:microsoft.com/office/officeart/2005/8/layout/list1"/>
    <dgm:cxn modelId="{2522DB50-E714-4683-9151-D9749CF7F042}" type="presParOf" srcId="{B2EA364A-D1C8-48A7-93B4-4EA8D661E7DD}" destId="{FC7931F7-A84A-4B6C-B6B2-E47382BA84A5}" srcOrd="6" destOrd="0" presId="urn:microsoft.com/office/officeart/2005/8/layout/list1"/>
    <dgm:cxn modelId="{3D6BC7C9-822A-4DFE-80C7-18AD7A7B07E8}" type="presParOf" srcId="{B2EA364A-D1C8-48A7-93B4-4EA8D661E7DD}" destId="{BB8FF018-933E-473D-AB31-99A08B130433}" srcOrd="7" destOrd="0" presId="urn:microsoft.com/office/officeart/2005/8/layout/list1"/>
    <dgm:cxn modelId="{2D8C27A6-9DC3-4029-AB8B-EB95868E65FC}" type="presParOf" srcId="{B2EA364A-D1C8-48A7-93B4-4EA8D661E7DD}" destId="{81F8EEDE-3FE8-4EF3-9CEC-44D5C6E50FF8}" srcOrd="8" destOrd="0" presId="urn:microsoft.com/office/officeart/2005/8/layout/list1"/>
    <dgm:cxn modelId="{C787EDBD-2948-4559-B2A8-476DC5CFDA90}" type="presParOf" srcId="{81F8EEDE-3FE8-4EF3-9CEC-44D5C6E50FF8}" destId="{E7F52686-20CF-4158-AF0B-BA2C53C134E6}" srcOrd="0" destOrd="0" presId="urn:microsoft.com/office/officeart/2005/8/layout/list1"/>
    <dgm:cxn modelId="{604CC6DA-5D19-413A-A84C-D9C2D7EFE556}" type="presParOf" srcId="{81F8EEDE-3FE8-4EF3-9CEC-44D5C6E50FF8}" destId="{0E48E7AC-001A-4DFF-8582-0B93BEAEF8D9}" srcOrd="1" destOrd="0" presId="urn:microsoft.com/office/officeart/2005/8/layout/list1"/>
    <dgm:cxn modelId="{22229265-F607-4667-ADEE-60E83112ED77}" type="presParOf" srcId="{B2EA364A-D1C8-48A7-93B4-4EA8D661E7DD}" destId="{83EDA414-46C1-4369-B1D5-3BDCCA145B47}" srcOrd="9" destOrd="0" presId="urn:microsoft.com/office/officeart/2005/8/layout/list1"/>
    <dgm:cxn modelId="{FF60C683-9191-4426-A968-8D099AC08101}" type="presParOf" srcId="{B2EA364A-D1C8-48A7-93B4-4EA8D661E7DD}" destId="{92D3FAC1-6FD5-4F3A-BD9E-217934C2619B}" srcOrd="10" destOrd="0" presId="urn:microsoft.com/office/officeart/2005/8/layout/list1"/>
    <dgm:cxn modelId="{FB6DAFF2-14D3-4FA8-8BE0-55FE81C568D9}" type="presParOf" srcId="{B2EA364A-D1C8-48A7-93B4-4EA8D661E7DD}" destId="{2268F958-9893-4050-880D-0830309AC329}" srcOrd="11" destOrd="0" presId="urn:microsoft.com/office/officeart/2005/8/layout/list1"/>
    <dgm:cxn modelId="{5C7399AF-ABD8-451E-B8BC-4CFCB8135D08}" type="presParOf" srcId="{B2EA364A-D1C8-48A7-93B4-4EA8D661E7DD}" destId="{E71851DA-613E-4C9C-9FCA-CB11A38A426E}" srcOrd="12" destOrd="0" presId="urn:microsoft.com/office/officeart/2005/8/layout/list1"/>
    <dgm:cxn modelId="{73BCB9E0-AB76-4550-9DD0-13F91AA4D0D4}" type="presParOf" srcId="{E71851DA-613E-4C9C-9FCA-CB11A38A426E}" destId="{68749C50-B2A3-4B74-A639-8D41542AE981}" srcOrd="0" destOrd="0" presId="urn:microsoft.com/office/officeart/2005/8/layout/list1"/>
    <dgm:cxn modelId="{B407208E-F386-4674-BEDF-57593ADADF23}" type="presParOf" srcId="{E71851DA-613E-4C9C-9FCA-CB11A38A426E}" destId="{ACC828A0-BD86-40D7-9E61-536014235759}" srcOrd="1" destOrd="0" presId="urn:microsoft.com/office/officeart/2005/8/layout/list1"/>
    <dgm:cxn modelId="{6E40B911-2094-4673-B6C3-AC3A66D4B7BE}" type="presParOf" srcId="{B2EA364A-D1C8-48A7-93B4-4EA8D661E7DD}" destId="{C24FDE02-B821-48F1-A588-2F1427BCFCE9}" srcOrd="13" destOrd="0" presId="urn:microsoft.com/office/officeart/2005/8/layout/list1"/>
    <dgm:cxn modelId="{0610DAE7-850E-48E9-9129-352849CB84B9}" type="presParOf" srcId="{B2EA364A-D1C8-48A7-93B4-4EA8D661E7DD}" destId="{ECCDF723-D7C1-41C2-879C-F625502B8F9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E6DB8B-932B-486D-AA17-8218AD866F63}">
      <dsp:nvSpPr>
        <dsp:cNvPr id="0" name=""/>
        <dsp:cNvSpPr/>
      </dsp:nvSpPr>
      <dsp:spPr>
        <a:xfrm>
          <a:off x="0" y="877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1D7D01-17AA-4EAD-A6BA-1D3DCCD8F497}">
      <dsp:nvSpPr>
        <dsp:cNvPr id="0" name=""/>
        <dsp:cNvSpPr/>
      </dsp:nvSpPr>
      <dsp:spPr>
        <a:xfrm>
          <a:off x="406400" y="508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lifetime income</a:t>
          </a:r>
          <a:endParaRPr lang="en-AU" sz="2500" kern="1200"/>
        </a:p>
      </dsp:txBody>
      <dsp:txXfrm>
        <a:off x="442426" y="544859"/>
        <a:ext cx="5617548" cy="665948"/>
      </dsp:txXfrm>
    </dsp:sp>
    <dsp:sp modelId="{FC7931F7-A84A-4B6C-B6B2-E47382BA84A5}">
      <dsp:nvSpPr>
        <dsp:cNvPr id="0" name=""/>
        <dsp:cNvSpPr/>
      </dsp:nvSpPr>
      <dsp:spPr>
        <a:xfrm>
          <a:off x="0" y="2011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16E261-ADA1-4BCD-9FAC-F1C71E8EC68F}">
      <dsp:nvSpPr>
        <dsp:cNvPr id="0" name=""/>
        <dsp:cNvSpPr/>
      </dsp:nvSpPr>
      <dsp:spPr>
        <a:xfrm>
          <a:off x="406400" y="1642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Insufficient liquidity</a:t>
          </a:r>
          <a:endParaRPr lang="en-AU" sz="2500" kern="1200"/>
        </a:p>
      </dsp:txBody>
      <dsp:txXfrm>
        <a:off x="442426" y="1678859"/>
        <a:ext cx="5617548" cy="665948"/>
      </dsp:txXfrm>
    </dsp:sp>
    <dsp:sp modelId="{92D3FAC1-6FD5-4F3A-BD9E-217934C2619B}">
      <dsp:nvSpPr>
        <dsp:cNvPr id="0" name=""/>
        <dsp:cNvSpPr/>
      </dsp:nvSpPr>
      <dsp:spPr>
        <a:xfrm>
          <a:off x="0" y="3145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8E7AC-001A-4DFF-8582-0B93BEAEF8D9}">
      <dsp:nvSpPr>
        <dsp:cNvPr id="0" name=""/>
        <dsp:cNvSpPr/>
      </dsp:nvSpPr>
      <dsp:spPr>
        <a:xfrm>
          <a:off x="406400" y="2776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Uncertainty</a:t>
          </a:r>
          <a:endParaRPr lang="en-AU" sz="2500" kern="1200"/>
        </a:p>
      </dsp:txBody>
      <dsp:txXfrm>
        <a:off x="442426" y="2812859"/>
        <a:ext cx="5617548" cy="665948"/>
      </dsp:txXfrm>
    </dsp:sp>
    <dsp:sp modelId="{ECCDF723-D7C1-41C2-879C-F625502B8F99}">
      <dsp:nvSpPr>
        <dsp:cNvPr id="0" name=""/>
        <dsp:cNvSpPr/>
      </dsp:nvSpPr>
      <dsp:spPr>
        <a:xfrm>
          <a:off x="0" y="4279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C828A0-BD86-40D7-9E61-536014235759}">
      <dsp:nvSpPr>
        <dsp:cNvPr id="0" name=""/>
        <dsp:cNvSpPr/>
      </dsp:nvSpPr>
      <dsp:spPr>
        <a:xfrm>
          <a:off x="406400" y="3910833"/>
          <a:ext cx="5689600" cy="738000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expenses (work related costs)</a:t>
          </a:r>
          <a:endParaRPr lang="en-AU" sz="2500" kern="1200"/>
        </a:p>
      </dsp:txBody>
      <dsp:txXfrm>
        <a:off x="442426" y="3946859"/>
        <a:ext cx="5617548" cy="6659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E5E588-A7FB-41B8-BC4D-73C12BADC8B6}">
      <dsp:nvSpPr>
        <dsp:cNvPr id="0" name=""/>
        <dsp:cNvSpPr/>
      </dsp:nvSpPr>
      <dsp:spPr>
        <a:xfrm>
          <a:off x="6579197" y="3262790"/>
          <a:ext cx="91440" cy="34780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997A57-BEB3-4A72-ADE4-EB65E96CE0E8}">
      <dsp:nvSpPr>
        <dsp:cNvPr id="0" name=""/>
        <dsp:cNvSpPr/>
      </dsp:nvSpPr>
      <dsp:spPr>
        <a:xfrm>
          <a:off x="4347601" y="1810829"/>
          <a:ext cx="2277315" cy="347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284"/>
              </a:lnTo>
              <a:lnTo>
                <a:pt x="2277315" y="175284"/>
              </a:lnTo>
              <a:lnTo>
                <a:pt x="2277315" y="34780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A59A19-3BC4-44C1-B2E3-115BC37C6AE4}">
      <dsp:nvSpPr>
        <dsp:cNvPr id="0" name=""/>
        <dsp:cNvSpPr/>
      </dsp:nvSpPr>
      <dsp:spPr>
        <a:xfrm>
          <a:off x="2070286" y="3262790"/>
          <a:ext cx="1518210" cy="347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284"/>
              </a:lnTo>
              <a:lnTo>
                <a:pt x="1518210" y="175284"/>
              </a:lnTo>
              <a:lnTo>
                <a:pt x="151821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8B3CCF-B388-4F61-9E01-A68E98586F67}">
      <dsp:nvSpPr>
        <dsp:cNvPr id="0" name=""/>
        <dsp:cNvSpPr/>
      </dsp:nvSpPr>
      <dsp:spPr>
        <a:xfrm>
          <a:off x="552076" y="3262790"/>
          <a:ext cx="1518210" cy="347808"/>
        </a:xfrm>
        <a:custGeom>
          <a:avLst/>
          <a:gdLst/>
          <a:ahLst/>
          <a:cxnLst/>
          <a:rect l="0" t="0" r="0" b="0"/>
          <a:pathLst>
            <a:path>
              <a:moveTo>
                <a:pt x="1518210" y="0"/>
              </a:moveTo>
              <a:lnTo>
                <a:pt x="1518210" y="175284"/>
              </a:lnTo>
              <a:lnTo>
                <a:pt x="0" y="175284"/>
              </a:lnTo>
              <a:lnTo>
                <a:pt x="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715925-9C71-4F75-8C25-2DEC4F1EFB34}">
      <dsp:nvSpPr>
        <dsp:cNvPr id="0" name=""/>
        <dsp:cNvSpPr/>
      </dsp:nvSpPr>
      <dsp:spPr>
        <a:xfrm>
          <a:off x="2070286" y="1810829"/>
          <a:ext cx="2277315" cy="347808"/>
        </a:xfrm>
        <a:custGeom>
          <a:avLst/>
          <a:gdLst/>
          <a:ahLst/>
          <a:cxnLst/>
          <a:rect l="0" t="0" r="0" b="0"/>
          <a:pathLst>
            <a:path>
              <a:moveTo>
                <a:pt x="2277315" y="0"/>
              </a:moveTo>
              <a:lnTo>
                <a:pt x="2277315" y="175284"/>
              </a:lnTo>
              <a:lnTo>
                <a:pt x="0" y="175284"/>
              </a:lnTo>
              <a:lnTo>
                <a:pt x="0" y="34780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82D173-BBD8-468A-BFD6-2F412E15A3AA}">
      <dsp:nvSpPr>
        <dsp:cNvPr id="0" name=""/>
        <dsp:cNvSpPr/>
      </dsp:nvSpPr>
      <dsp:spPr>
        <a:xfrm>
          <a:off x="3795525" y="706676"/>
          <a:ext cx="1104152" cy="1104152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37704F-E2BD-488C-BD6C-01ECD6EA4795}">
      <dsp:nvSpPr>
        <dsp:cNvPr id="0" name=""/>
        <dsp:cNvSpPr/>
      </dsp:nvSpPr>
      <dsp:spPr>
        <a:xfrm>
          <a:off x="4899678" y="703915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Job loss</a:t>
          </a:r>
          <a:endParaRPr lang="en-AU" sz="2400" kern="1200"/>
        </a:p>
      </dsp:txBody>
      <dsp:txXfrm>
        <a:off x="4899678" y="703915"/>
        <a:ext cx="1656229" cy="1104152"/>
      </dsp:txXfrm>
    </dsp:sp>
    <dsp:sp modelId="{2985AD6C-B8E7-47EF-8A4B-2D1492695B74}">
      <dsp:nvSpPr>
        <dsp:cNvPr id="0" name=""/>
        <dsp:cNvSpPr/>
      </dsp:nvSpPr>
      <dsp:spPr>
        <a:xfrm>
          <a:off x="1518210" y="2158637"/>
          <a:ext cx="1104152" cy="1104152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2A5515-3D65-48CF-99E9-1F9B1F7AFE81}">
      <dsp:nvSpPr>
        <dsp:cNvPr id="0" name=""/>
        <dsp:cNvSpPr/>
      </dsp:nvSpPr>
      <dsp:spPr>
        <a:xfrm>
          <a:off x="2622363" y="2155876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Benefit application</a:t>
          </a:r>
          <a:endParaRPr lang="en-AU" sz="2400" kern="1200"/>
        </a:p>
      </dsp:txBody>
      <dsp:txXfrm>
        <a:off x="2622363" y="2155876"/>
        <a:ext cx="1656229" cy="1104152"/>
      </dsp:txXfrm>
    </dsp:sp>
    <dsp:sp modelId="{B0687140-AE12-4B89-A5EA-7B6A47FD2A95}">
      <dsp:nvSpPr>
        <dsp:cNvPr id="0" name=""/>
        <dsp:cNvSpPr/>
      </dsp:nvSpPr>
      <dsp:spPr>
        <a:xfrm>
          <a:off x="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379969-EDFE-4B50-A755-0A082A8392E0}">
      <dsp:nvSpPr>
        <dsp:cNvPr id="0" name=""/>
        <dsp:cNvSpPr/>
      </dsp:nvSpPr>
      <dsp:spPr>
        <a:xfrm>
          <a:off x="1104152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Approval</a:t>
          </a:r>
          <a:endParaRPr lang="en-AU" sz="2400" kern="1200"/>
        </a:p>
      </dsp:txBody>
      <dsp:txXfrm>
        <a:off x="1104152" y="3607837"/>
        <a:ext cx="1656229" cy="1104152"/>
      </dsp:txXfrm>
    </dsp:sp>
    <dsp:sp modelId="{E4D31C95-6140-4F3B-BA05-7081C03CBC56}">
      <dsp:nvSpPr>
        <dsp:cNvPr id="0" name=""/>
        <dsp:cNvSpPr/>
      </dsp:nvSpPr>
      <dsp:spPr>
        <a:xfrm>
          <a:off x="303642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332435-8F2B-4260-95A7-90B2362DB440}">
      <dsp:nvSpPr>
        <dsp:cNvPr id="0" name=""/>
        <dsp:cNvSpPr/>
      </dsp:nvSpPr>
      <dsp:spPr>
        <a:xfrm>
          <a:off x="4140573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n-receipt</a:t>
          </a:r>
          <a:endParaRPr lang="en-AU" sz="2400" kern="1200"/>
        </a:p>
      </dsp:txBody>
      <dsp:txXfrm>
        <a:off x="4140573" y="3607837"/>
        <a:ext cx="1656229" cy="1104152"/>
      </dsp:txXfrm>
    </dsp:sp>
    <dsp:sp modelId="{5BB384AC-1844-4761-952C-FB5B3D2854FC}">
      <dsp:nvSpPr>
        <dsp:cNvPr id="0" name=""/>
        <dsp:cNvSpPr/>
      </dsp:nvSpPr>
      <dsp:spPr>
        <a:xfrm>
          <a:off x="6072840" y="2158637"/>
          <a:ext cx="1104152" cy="1104152"/>
        </a:xfrm>
        <a:prstGeom prst="ellipse">
          <a:avLst/>
        </a:prstGeom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AADD88-6CFD-48AF-A6B4-1F0FA87D7331}">
      <dsp:nvSpPr>
        <dsp:cNvPr id="0" name=""/>
        <dsp:cNvSpPr/>
      </dsp:nvSpPr>
      <dsp:spPr>
        <a:xfrm>
          <a:off x="7176993" y="2155876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 application</a:t>
          </a:r>
          <a:endParaRPr lang="en-AU" sz="2400" kern="1200"/>
        </a:p>
      </dsp:txBody>
      <dsp:txXfrm>
        <a:off x="7176993" y="2155876"/>
        <a:ext cx="1656229" cy="1104152"/>
      </dsp:txXfrm>
    </dsp:sp>
    <dsp:sp modelId="{DA6DB704-8B19-4C1B-9DA7-2110D0673C46}">
      <dsp:nvSpPr>
        <dsp:cNvPr id="0" name=""/>
        <dsp:cNvSpPr/>
      </dsp:nvSpPr>
      <dsp:spPr>
        <a:xfrm>
          <a:off x="607284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849198-524D-4405-BB51-62A270D3D57D}">
      <dsp:nvSpPr>
        <dsp:cNvPr id="0" name=""/>
        <dsp:cNvSpPr/>
      </dsp:nvSpPr>
      <dsp:spPr>
        <a:xfrm>
          <a:off x="7176993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n-receipt</a:t>
          </a:r>
          <a:endParaRPr lang="en-AU" sz="2400" kern="1200"/>
        </a:p>
      </dsp:txBody>
      <dsp:txXfrm>
        <a:off x="7176993" y="3607837"/>
        <a:ext cx="1656229" cy="110415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E6DB8B-932B-486D-AA17-8218AD866F63}">
      <dsp:nvSpPr>
        <dsp:cNvPr id="0" name=""/>
        <dsp:cNvSpPr/>
      </dsp:nvSpPr>
      <dsp:spPr>
        <a:xfrm>
          <a:off x="0" y="877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1D7D01-17AA-4EAD-A6BA-1D3DCCD8F497}">
      <dsp:nvSpPr>
        <dsp:cNvPr id="0" name=""/>
        <dsp:cNvSpPr/>
      </dsp:nvSpPr>
      <dsp:spPr>
        <a:xfrm>
          <a:off x="406400" y="508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lifetime income</a:t>
          </a:r>
          <a:endParaRPr lang="en-AU" sz="2500" kern="1200"/>
        </a:p>
      </dsp:txBody>
      <dsp:txXfrm>
        <a:off x="442426" y="544859"/>
        <a:ext cx="5617548" cy="665948"/>
      </dsp:txXfrm>
    </dsp:sp>
    <dsp:sp modelId="{FC7931F7-A84A-4B6C-B6B2-E47382BA84A5}">
      <dsp:nvSpPr>
        <dsp:cNvPr id="0" name=""/>
        <dsp:cNvSpPr/>
      </dsp:nvSpPr>
      <dsp:spPr>
        <a:xfrm>
          <a:off x="0" y="2011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16E261-ADA1-4BCD-9FAC-F1C71E8EC68F}">
      <dsp:nvSpPr>
        <dsp:cNvPr id="0" name=""/>
        <dsp:cNvSpPr/>
      </dsp:nvSpPr>
      <dsp:spPr>
        <a:xfrm>
          <a:off x="406400" y="1642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Insufficient liquidity</a:t>
          </a:r>
          <a:endParaRPr lang="en-AU" sz="2500" kern="1200"/>
        </a:p>
      </dsp:txBody>
      <dsp:txXfrm>
        <a:off x="442426" y="1678859"/>
        <a:ext cx="5617548" cy="665948"/>
      </dsp:txXfrm>
    </dsp:sp>
    <dsp:sp modelId="{92D3FAC1-6FD5-4F3A-BD9E-217934C2619B}">
      <dsp:nvSpPr>
        <dsp:cNvPr id="0" name=""/>
        <dsp:cNvSpPr/>
      </dsp:nvSpPr>
      <dsp:spPr>
        <a:xfrm>
          <a:off x="0" y="3145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8E7AC-001A-4DFF-8582-0B93BEAEF8D9}">
      <dsp:nvSpPr>
        <dsp:cNvPr id="0" name=""/>
        <dsp:cNvSpPr/>
      </dsp:nvSpPr>
      <dsp:spPr>
        <a:xfrm>
          <a:off x="406400" y="2776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Uncertainty</a:t>
          </a:r>
          <a:endParaRPr lang="en-AU" sz="2500" kern="1200"/>
        </a:p>
      </dsp:txBody>
      <dsp:txXfrm>
        <a:off x="442426" y="2812859"/>
        <a:ext cx="5617548" cy="665948"/>
      </dsp:txXfrm>
    </dsp:sp>
    <dsp:sp modelId="{ECCDF723-D7C1-41C2-879C-F625502B8F99}">
      <dsp:nvSpPr>
        <dsp:cNvPr id="0" name=""/>
        <dsp:cNvSpPr/>
      </dsp:nvSpPr>
      <dsp:spPr>
        <a:xfrm>
          <a:off x="0" y="4279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C828A0-BD86-40D7-9E61-536014235759}">
      <dsp:nvSpPr>
        <dsp:cNvPr id="0" name=""/>
        <dsp:cNvSpPr/>
      </dsp:nvSpPr>
      <dsp:spPr>
        <a:xfrm>
          <a:off x="406400" y="3910833"/>
          <a:ext cx="5689600" cy="738000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expenses (work related costs)</a:t>
          </a:r>
          <a:endParaRPr lang="en-AU" sz="2500" kern="1200"/>
        </a:p>
      </dsp:txBody>
      <dsp:txXfrm>
        <a:off x="442426" y="3946859"/>
        <a:ext cx="5617548" cy="6659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layout/CirclePictureHierarchy">
  <dgm:title val=""/>
  <dgm:desc val=""/>
  <dgm:catLst>
    <dgm:cat type="hierarchy" pri="1750"/>
    <dgm:cat type="picture" pri="23000"/>
    <dgm:cat type="pictureconvert" pri="2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5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h" for="ch" forName="image" refType="h" fact="0.8"/>
              <dgm:constr type="w" for="ch" forName="image" refType="h" refFor="ch" refForName="image"/>
              <dgm:constr type="t" for="ch" forName="image" refType="h" fact="0.1"/>
              <dgm:constr type="l" for="ch" forName="image"/>
              <dgm:constr type="w" for="ch" forName="text" refType="w" fact="0.6"/>
              <dgm:constr type="h" for="ch" forName="text" refType="h" fact="0.8"/>
              <dgm:constr type="t" for="ch" forName="text" refType="w" fact="0.04"/>
              <dgm:constr type="l" for="ch" forName="text" refType="w" fact="0.4"/>
            </dgm:constrLst>
            <dgm:ruleLst/>
            <dgm:layoutNode name="image" styleLbl="node0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  <dgm:layoutNode name="text" styleLbl="revTx">
              <dgm:varLst>
                <dgm:chPref val="3"/>
              </dgm:varLst>
              <dgm:alg type="tx">
                <dgm:param type="parTxLTRAlign" val="l"/>
                <dgm:param type="parTxRTLAlign" val="r"/>
              </dgm:alg>
              <dgm:shape xmlns:r="http://schemas.openxmlformats.org/officeDocument/2006/relationships" type="rect" r:blip="">
                <dgm:adjLst/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image"/>
                    <dgm:param type="dstNode" val="image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h" for="ch" forName="image2" refType="h" fact="0.8"/>
                      <dgm:constr type="w" for="ch" forName="image2" refType="h" refFor="ch" refForName="image2"/>
                      <dgm:constr type="t" for="ch" forName="image2" refType="h" fact="0.1"/>
                      <dgm:constr type="l" for="ch" forName="image2"/>
                      <dgm:constr type="w" for="ch" forName="text2" refType="w" fact="0.6"/>
                      <dgm:constr type="h" for="ch" forName="text2" refType="h" fact="0.8"/>
                      <dgm:constr type="t" for="ch" forName="text2" refType="w" fact="0.04"/>
                      <dgm:constr type="l" for="ch" forName="text2" refType="w" fact="0.4"/>
                    </dgm:constrLst>
                    <dgm:ruleLst/>
                    <dgm:layoutNode name="image2">
                      <dgm:alg type="sp"/>
                      <dgm:shape xmlns:r="http://schemas.openxmlformats.org/officeDocument/2006/relationships" type="ellipse" r:blip="" blipPhldr="1">
                        <dgm:adjLst/>
                      </dgm:shape>
                      <dgm:presOf/>
                      <dgm:constrLst/>
                      <dgm:ruleLst/>
                    </dgm:layoutNode>
                    <dgm:layoutNode name="text2" styleLbl="revTx">
                      <dgm:varLst>
                        <dgm:chPref val="3"/>
                      </dgm:varLst>
                      <dgm:alg type="tx">
                        <dgm:param type="parTxLTRAlign" val="l"/>
                        <dgm:param type="parTxRTLAlign" val="r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image2"/>
                            <dgm:param type="dstNode" val="image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h" for="ch" forName="image3" refType="h" fact="0.8"/>
                              <dgm:constr type="w" for="ch" forName="image3" refType="h" refFor="ch" refForName="image3"/>
                              <dgm:constr type="t" for="ch" forName="image3" refType="h" fact="0.1"/>
                              <dgm:constr type="l" for="ch" forName="image3"/>
                              <dgm:constr type="w" for="ch" forName="text3" refType="w" fact="0.6"/>
                              <dgm:constr type="h" for="ch" forName="text3" refType="h" fact="0.8"/>
                              <dgm:constr type="t" for="ch" forName="text3" refType="w" fact="0.04"/>
                              <dgm:constr type="l" for="ch" forName="text3" refType="w" fact="0.4"/>
                            </dgm:constrLst>
                            <dgm:ruleLst/>
                            <dgm:layoutNode name="image3">
                              <dgm:alg type="sp"/>
                              <dgm:shape xmlns:r="http://schemas.openxmlformats.org/officeDocument/2006/relationships" type="ellipse" r:blip="" blipPhldr="1">
                                <dgm:adjLst/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revTx">
                              <dgm:varLst>
                                <dgm:chPref val="3"/>
                              </dgm:varLst>
                              <dgm:alg type="tx">
                                <dgm:param type="parTxLTRAlign" val="l"/>
                                <dgm:param type="parTxRTLAlign" val="r"/>
                              </dgm:alg>
                              <dgm:shape xmlns:r="http://schemas.openxmlformats.org/officeDocument/2006/relationships" type="rect" r:blip="">
                                <dgm:adjLst/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3"/>
                                        <dgm:param type="dstNode" val="image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4"/>
                                        <dgm:param type="dstNode" val="image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h" for="ch" forName="image4" refType="h" fact="0.8"/>
                                      <dgm:constr type="w" for="ch" forName="image4" refType="h" refFor="ch" refForName="image4"/>
                                      <dgm:constr type="t" for="ch" forName="image4" refType="h" fact="0.1"/>
                                      <dgm:constr type="l" for="ch" forName="image4"/>
                                      <dgm:constr type="w" for="ch" forName="text4" refType="w" fact="0.6"/>
                                      <dgm:constr type="h" for="ch" forName="text4" refType="h" fact="0.8"/>
                                      <dgm:constr type="t" for="ch" forName="text4" refType="w" fact="0.04"/>
                                      <dgm:constr type="l" for="ch" forName="text4" refType="w" fact="0.4"/>
                                    </dgm:constrLst>
                                    <dgm:ruleLst/>
                                    <dgm:layoutNode name="image4">
                                      <dgm:alg type="sp"/>
                                      <dgm:shape xmlns:r="http://schemas.openxmlformats.org/officeDocument/2006/relationships" type="ellipse" r:blip="" blipPhldr="1">
                                        <dgm:adjLst/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revTx">
                                      <dgm:varLst>
                                        <dgm:chPref val="3"/>
                                      </dgm:varLst>
                                      <dgm:alg type="tx">
                                        <dgm:param type="parTxLTRAlign" val="l"/>
                                        <dgm:param type="parTxRTLAlign" val="r"/>
                                      </dgm:alg>
                                      <dgm:shape xmlns:r="http://schemas.openxmlformats.org/officeDocument/2006/relationships" type="rect" r:blip="">
                                        <dgm:adjLst/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11/1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11/1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992573-22FE-D375-4159-9B7A6B8C9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2594C8-84B2-2C45-1DB6-F2512D01F4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58BFAE-50E8-290A-7B0A-52E51069AA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0FD0D-04E4-DB8D-DC51-CF5FD6B354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3775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diagramLayout" Target="../diagrams/layout2.xml"/><Relationship Id="rId7" Type="http://schemas.openxmlformats.org/officeDocument/2006/relationships/image" Target="../media/image28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diagramLayout" Target="../diagrams/layout3.xml"/><Relationship Id="rId7" Type="http://schemas.openxmlformats.org/officeDocument/2006/relationships/image" Target="../media/image10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9.xml"/><Relationship Id="rId6" Type="http://schemas.openxmlformats.org/officeDocument/2006/relationships/image" Target="../media/image3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10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004CB0-0CE3-3376-69B4-2522D3E31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59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004CB0-0CE3-3376-69B4-2522D3E3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4F42D9-7ACE-EF54-8740-DF8227CBF8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7417" y="4031835"/>
            <a:ext cx="4698834" cy="797782"/>
          </a:xfrm>
        </p:spPr>
        <p:txBody>
          <a:bodyPr/>
          <a:lstStyle/>
          <a:p>
            <a:r>
              <a:rPr lang="en-US">
                <a:latin typeface="Graphik"/>
              </a:rPr>
              <a:t>Consumption, job loss, and benefi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DA241-86F8-9BA0-6847-FAF7BA0BC7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417" y="5693749"/>
            <a:ext cx="4698834" cy="307777"/>
          </a:xfrm>
        </p:spPr>
        <p:txBody>
          <a:bodyPr/>
          <a:lstStyle/>
          <a:p>
            <a:r>
              <a:rPr lang="en-US"/>
              <a:t>Seminar – Sep-2024</a:t>
            </a:r>
          </a:p>
        </p:txBody>
      </p:sp>
      <p:pic>
        <p:nvPicPr>
          <p:cNvPr id="8" name="Picture Placeholder 7" descr="A person sitting at a table with papers and a calculator&#10;&#10;Description automatically generated">
            <a:extLst>
              <a:ext uri="{FF2B5EF4-FFF2-40B4-BE49-F238E27FC236}">
                <a16:creationId xmlns:a16="http://schemas.microsoft.com/office/drawing/2014/main" id="{73DCDE7B-C32F-A88B-3AA3-8CC3E8CB9A3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" b="45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828433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Beneficiary consumption scarring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6906091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399" y="305114"/>
            <a:ext cx="11459365" cy="700597"/>
          </a:xfrm>
        </p:spPr>
        <p:txBody>
          <a:bodyPr/>
          <a:lstStyle/>
          <a:p>
            <a:r>
              <a:rPr lang="en-US"/>
              <a:t>Individuals, government, determine whether you receive income support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6033CB-A77E-D6A9-BA83-A82F4E640310}"/>
              </a:ext>
            </a:extLst>
          </p:cNvPr>
          <p:cNvSpPr txBox="1"/>
          <p:nvPr/>
        </p:nvSpPr>
        <p:spPr>
          <a:xfrm>
            <a:off x="370417" y="6093113"/>
            <a:ext cx="8815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Our intention is to describe the </a:t>
            </a:r>
            <a:r>
              <a:rPr lang="en-US" i="1"/>
              <a:t>selection </a:t>
            </a:r>
            <a:r>
              <a:rPr lang="en-US"/>
              <a:t>involved in being approved or not approved.</a:t>
            </a:r>
            <a:endParaRPr lang="en-NZ" i="1"/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B8DB12DC-DD46-094B-37B9-BCDC077D7B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9663506"/>
              </p:ext>
            </p:extLst>
          </p:nvPr>
        </p:nvGraphicFramePr>
        <p:xfrm>
          <a:off x="3074378" y="547697"/>
          <a:ext cx="883322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5" name="Graphic 14" descr="Woman raising finger">
            <a:extLst>
              <a:ext uri="{FF2B5EF4-FFF2-40B4-BE49-F238E27FC236}">
                <a16:creationId xmlns:a16="http://schemas.microsoft.com/office/drawing/2014/main" id="{1005C6F1-3007-A478-76AB-7A37458B32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2114" y="1496774"/>
            <a:ext cx="2114550" cy="410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1059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efit type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70417" y="1272957"/>
            <a:ext cx="79175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ould we expect benefit recipients to see a smaller or larger scar?</a:t>
            </a:r>
            <a:endParaRPr lang="en-NZ" b="1"/>
          </a:p>
        </p:txBody>
      </p:sp>
      <p:pic>
        <p:nvPicPr>
          <p:cNvPr id="9" name="Picture 8" descr="A graph of a graph of a graph of a graph of a graph of a graph of a graph of a graph of a graph of a graph of a graph of a graph of a graph of&#10;&#10;Description automatically generated">
            <a:extLst>
              <a:ext uri="{FF2B5EF4-FFF2-40B4-BE49-F238E27FC236}">
                <a16:creationId xmlns:a16="http://schemas.microsoft.com/office/drawing/2014/main" id="{4DF58678-8B0A-FC49-4022-76DA488C86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70" y="3017901"/>
            <a:ext cx="4779852" cy="351172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DCCE499-42D5-4CC0-E45C-FA0457D6521B}"/>
              </a:ext>
            </a:extLst>
          </p:cNvPr>
          <p:cNvSpPr txBox="1"/>
          <p:nvPr/>
        </p:nvSpPr>
        <p:spPr>
          <a:xfrm flipH="1">
            <a:off x="7223937" y="1956217"/>
            <a:ext cx="3883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ubject of Clarke et al (2023)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9A390EE-C56A-7195-8785-4325F854614B}"/>
              </a:ext>
            </a:extLst>
          </p:cNvPr>
          <p:cNvSpPr txBox="1"/>
          <p:nvPr/>
        </p:nvSpPr>
        <p:spPr>
          <a:xfrm>
            <a:off x="6400780" y="3568694"/>
            <a:ext cx="5304821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uch larger decline in consumption for those who receive income suppo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sufficient payment?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sufficient coverag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eterogeneity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C5E7F4-7E16-9A41-4A1D-4B43F50561BF}"/>
              </a:ext>
            </a:extLst>
          </p:cNvPr>
          <p:cNvSpPr txBox="1"/>
          <p:nvPr/>
        </p:nvSpPr>
        <p:spPr>
          <a:xfrm flipH="1">
            <a:off x="370417" y="1719646"/>
            <a:ext cx="60617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Receiving the payment reduces the liquidity constraint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C8311B2-BE7F-098F-74E3-D7E825EF843F}"/>
              </a:ext>
            </a:extLst>
          </p:cNvPr>
          <p:cNvSpPr txBox="1"/>
          <p:nvPr/>
        </p:nvSpPr>
        <p:spPr>
          <a:xfrm flipH="1">
            <a:off x="370417" y="2140883"/>
            <a:ext cx="6061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Eligibility and take-up correlated with liquidity constraints (selection).</a:t>
            </a:r>
          </a:p>
        </p:txBody>
      </p:sp>
    </p:spTree>
    <p:extLst>
      <p:ext uri="{BB962C8B-B14F-4D97-AF65-F5344CB8AC3E}">
        <p14:creationId xmlns:p14="http://schemas.microsoft.com/office/powerpoint/2010/main" val="2680855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Lessons from working from home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9311094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80D947-852C-5703-7D12-9EF4E44FAF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66C74E-DDBC-A68F-D514-64451BBCF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770" y="477163"/>
            <a:ext cx="11459365" cy="700597"/>
          </a:xfrm>
        </p:spPr>
        <p:txBody>
          <a:bodyPr/>
          <a:lstStyle/>
          <a:p>
            <a:r>
              <a:rPr lang="en-US"/>
              <a:t>Why would expenditure change after job loss?</a:t>
            </a:r>
            <a:endParaRPr lang="en-NZ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3A5AD16-8007-0884-38B6-C1F95861AE03}"/>
              </a:ext>
            </a:extLst>
          </p:cNvPr>
          <p:cNvGraphicFramePr/>
          <p:nvPr/>
        </p:nvGraphicFramePr>
        <p:xfrm>
          <a:off x="2926498" y="94852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Graphic 6" descr="Man wearing hat and suit">
            <a:extLst>
              <a:ext uri="{FF2B5EF4-FFF2-40B4-BE49-F238E27FC236}">
                <a16:creationId xmlns:a16="http://schemas.microsoft.com/office/drawing/2014/main" id="{B6AD4742-4E44-6801-2F10-F1BCBF3B18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5312" y="1429009"/>
            <a:ext cx="1533525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0992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 related expenses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3448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Why has consumption declined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10690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Tax deductions suggest work related expenses matter – don’t want to tax these expenses: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2632F3-E21F-A524-A3C0-6D5DB12CB751}"/>
              </a:ext>
            </a:extLst>
          </p:cNvPr>
          <p:cNvSpPr txBox="1"/>
          <p:nvPr/>
        </p:nvSpPr>
        <p:spPr>
          <a:xfrm>
            <a:off x="370417" y="2258421"/>
            <a:ext cx="987142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US standard deduction</a:t>
            </a:r>
            <a:r>
              <a:rPr lang="en-US"/>
              <a:t> – 35% of average earnings, 23% of average FT earnings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Australian tax-free threshold</a:t>
            </a:r>
            <a:r>
              <a:rPr lang="en-US"/>
              <a:t> – 19% of average FT earnings (other deductions allowed).</a:t>
            </a:r>
            <a:endParaRPr lang="en-NZ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C8D2CC-36E2-3AC5-548A-CB2F25D9DB39}"/>
              </a:ext>
            </a:extLst>
          </p:cNvPr>
          <p:cNvSpPr txBox="1"/>
          <p:nvPr/>
        </p:nvSpPr>
        <p:spPr>
          <a:xfrm>
            <a:off x="362218" y="4368138"/>
            <a:ext cx="11291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Without a job there is no need to pay work-related expenses. As a result, </a:t>
            </a:r>
            <a:r>
              <a:rPr lang="en-US" b="1"/>
              <a:t>some of the </a:t>
            </a:r>
            <a:r>
              <a:rPr lang="en-US" b="1">
                <a:solidFill>
                  <a:srgbClr val="FF0000"/>
                </a:solidFill>
              </a:rPr>
              <a:t>expenditure</a:t>
            </a:r>
            <a:r>
              <a:rPr lang="en-US" b="1"/>
              <a:t> decline is not a decline in </a:t>
            </a:r>
            <a:r>
              <a:rPr lang="en-US" b="1">
                <a:solidFill>
                  <a:srgbClr val="92D050"/>
                </a:solidFill>
              </a:rPr>
              <a:t>consumption</a:t>
            </a:r>
            <a:r>
              <a:rPr lang="en-US" b="1"/>
              <a:t>.</a:t>
            </a:r>
            <a:endParaRPr lang="en-NZ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2C51CC-8097-BD04-852D-FB15FDC1180F}"/>
              </a:ext>
            </a:extLst>
          </p:cNvPr>
          <p:cNvSpPr txBox="1"/>
          <p:nvPr/>
        </p:nvSpPr>
        <p:spPr>
          <a:xfrm>
            <a:off x="362218" y="3588205"/>
            <a:ext cx="11291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So tax authorities say that “income” to pay for work related expenses aren’t income!</a:t>
            </a:r>
            <a:endParaRPr lang="en-NZ" b="1"/>
          </a:p>
        </p:txBody>
      </p:sp>
    </p:spTree>
    <p:extLst>
      <p:ext uri="{BB962C8B-B14F-4D97-AF65-F5344CB8AC3E}">
        <p14:creationId xmlns:p14="http://schemas.microsoft.com/office/powerpoint/2010/main" val="1517047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  <p:bldP spid="1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 related expenses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8616" y="1280818"/>
            <a:ext cx="6417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e can’t just look at consumption decline on job loss.</a:t>
            </a:r>
            <a:endParaRPr lang="en-NZ" b="1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375C18-707E-600D-9F43-A0B31C974316}"/>
              </a:ext>
            </a:extLst>
          </p:cNvPr>
          <p:cNvSpPr txBox="1"/>
          <p:nvPr/>
        </p:nvSpPr>
        <p:spPr>
          <a:xfrm>
            <a:off x="370417" y="2615147"/>
            <a:ext cx="30973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Lessons from retirement.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E0E4DD-0779-E70F-960D-99385CB70D76}"/>
              </a:ext>
            </a:extLst>
          </p:cNvPr>
          <p:cNvSpPr txBox="1"/>
          <p:nvPr/>
        </p:nvSpPr>
        <p:spPr>
          <a:xfrm>
            <a:off x="370417" y="4508876"/>
            <a:ext cx="55579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hat about lessons from working from home?</a:t>
            </a:r>
            <a:endParaRPr lang="en-NZ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BCD86A-63F9-C8D4-4473-FF3187E9A605}"/>
              </a:ext>
            </a:extLst>
          </p:cNvPr>
          <p:cNvSpPr txBox="1"/>
          <p:nvPr/>
        </p:nvSpPr>
        <p:spPr>
          <a:xfrm>
            <a:off x="378616" y="1840218"/>
            <a:ext cx="95099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xpenditure decline is BOTH due to lower consumption and lower work-related expenses.</a:t>
            </a:r>
            <a:endParaRPr lang="en-NZ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399A1E-5519-D41D-B4BA-DC5EAA2ABD95}"/>
              </a:ext>
            </a:extLst>
          </p:cNvPr>
          <p:cNvSpPr txBox="1"/>
          <p:nvPr/>
        </p:nvSpPr>
        <p:spPr>
          <a:xfrm>
            <a:off x="378616" y="3121223"/>
            <a:ext cx="95033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Predictable exit from the labour mark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urst (2008) – expenditure decline is NOT a decline in consump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mbination of reduced </a:t>
            </a:r>
            <a:r>
              <a:rPr lang="en-US" b="1"/>
              <a:t>work-related expenses</a:t>
            </a:r>
            <a:r>
              <a:rPr lang="en-US"/>
              <a:t> and time to </a:t>
            </a:r>
            <a:r>
              <a:rPr lang="en-US" b="1"/>
              <a:t>search for good deals</a:t>
            </a:r>
            <a:r>
              <a:rPr lang="en-US"/>
              <a:t>.</a:t>
            </a:r>
            <a:endParaRPr lang="en-NZ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3C0230-6464-5BCD-8FAF-EF6F5DEB4A32}"/>
              </a:ext>
            </a:extLst>
          </p:cNvPr>
          <p:cNvSpPr txBox="1"/>
          <p:nvPr/>
        </p:nvSpPr>
        <p:spPr>
          <a:xfrm>
            <a:off x="370417" y="5059473"/>
            <a:ext cx="1023767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uddenly working from home implies that some work-related expenses no longer occur (travel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VID as shoc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ill </a:t>
            </a:r>
            <a:r>
              <a:rPr lang="en-US" i="1"/>
              <a:t>understate</a:t>
            </a:r>
            <a:r>
              <a:rPr lang="en-US"/>
              <a:t> savings (time budget, cost of working from home).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797385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9" grpId="0"/>
      <p:bldP spid="10" grpId="0"/>
      <p:bldP spid="11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VID Working from home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79947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How much of the spending decline is due to no longer having to go to work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80602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lear categories where spending did drop when working from home.</a:t>
            </a:r>
            <a:endParaRPr lang="en-NZ" b="1" dirty="0"/>
          </a:p>
        </p:txBody>
      </p:sp>
      <p:pic>
        <p:nvPicPr>
          <p:cNvPr id="7" name="Picture 6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3DA783E5-FAE7-6187-325A-4A61BDD5F0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6087" y="2191746"/>
            <a:ext cx="6219826" cy="4524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9771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VID Working from home (early work)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4716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Aim for release late-2024 (in working paper)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77123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Selection into Working From Home not Exogenous – IV approach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370417" y="2389303"/>
            <a:ext cx="7806496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pre-COVID industry share as an instrument for working from home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itial estimate is a 15% decline in expenditure,</a:t>
            </a:r>
            <a:br>
              <a:rPr lang="en-US" dirty="0"/>
            </a:br>
            <a:r>
              <a:rPr lang="en-US" dirty="0"/>
              <a:t>however very imprecis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LS estimates are a 5% declin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ocery spending (which is seen as less work related)</a:t>
            </a:r>
            <a:br>
              <a:rPr lang="en-US" dirty="0"/>
            </a:br>
            <a:r>
              <a:rPr lang="en-US" dirty="0"/>
              <a:t>does not experience a statistically significant decline </a:t>
            </a:r>
            <a:br>
              <a:rPr lang="en-US" dirty="0"/>
            </a:br>
            <a:r>
              <a:rPr lang="en-US" dirty="0"/>
              <a:t>(6.6% reduction).</a:t>
            </a:r>
            <a:endParaRPr lang="en-NZ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A7F816-87F6-ECFA-F646-C8A17D9BF40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23886" y="2840372"/>
            <a:ext cx="5084512" cy="369733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3A1EC80-35F4-1E34-1BB2-B0306F465C5C}"/>
              </a:ext>
            </a:extLst>
          </p:cNvPr>
          <p:cNvSpPr txBox="1"/>
          <p:nvPr/>
        </p:nvSpPr>
        <p:spPr>
          <a:xfrm>
            <a:off x="370417" y="5718379"/>
            <a:ext cx="60228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caling for time out of work, this explains 83% of </a:t>
            </a:r>
            <a:br>
              <a:rPr lang="en-US" b="1" dirty="0"/>
            </a:br>
            <a:r>
              <a:rPr lang="en-US" b="1" dirty="0"/>
              <a:t>the expenditure decline for </a:t>
            </a:r>
            <a:r>
              <a:rPr lang="en-US" b="1" u="sng" dirty="0"/>
              <a:t>non-beneficiaries</a:t>
            </a:r>
            <a:r>
              <a:rPr lang="en-US" b="1" dirty="0"/>
              <a:t>.</a:t>
            </a:r>
            <a:endParaRPr lang="en-NZ" b="1" dirty="0"/>
          </a:p>
        </p:txBody>
      </p:sp>
    </p:spTree>
    <p:extLst>
      <p:ext uri="{BB962C8B-B14F-4D97-AF65-F5344CB8AC3E}">
        <p14:creationId xmlns:p14="http://schemas.microsoft.com/office/powerpoint/2010/main" val="3990896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Labour supply responses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8903508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7" y="484222"/>
            <a:ext cx="11459365" cy="700597"/>
          </a:xfrm>
        </p:spPr>
        <p:txBody>
          <a:bodyPr/>
          <a:lstStyle/>
          <a:p>
            <a:r>
              <a:rPr lang="en-AU" dirty="0"/>
              <a:t>Motiv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280818"/>
            <a:ext cx="6607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XXX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49851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surance and labour supply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51510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How do benefits influence the incentive to work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16161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Baily-Chetty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370417" y="2278424"/>
            <a:ext cx="103743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sumption responses after job loss reflect the potential “benefit” of a higher benefit rat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ever, total </a:t>
            </a:r>
            <a:r>
              <a:rPr lang="en-US" dirty="0" err="1"/>
              <a:t>labour</a:t>
            </a:r>
            <a:r>
              <a:rPr lang="en-US" dirty="0"/>
              <a:t> supply response is needed to reflect an important “cost” of higher benefits.</a:t>
            </a:r>
            <a:endParaRPr lang="en-NZ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914A2B-10DC-D106-8DA5-B4E4EACE50C9}"/>
              </a:ext>
            </a:extLst>
          </p:cNvPr>
          <p:cNvSpPr txBox="1"/>
          <p:nvPr/>
        </p:nvSpPr>
        <p:spPr>
          <a:xfrm>
            <a:off x="362218" y="3656246"/>
            <a:ext cx="40190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ork underway on labour supply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719C52-3C76-E9AA-8899-572CC5D0E2B7}"/>
              </a:ext>
            </a:extLst>
          </p:cNvPr>
          <p:cNvSpPr txBox="1"/>
          <p:nvPr/>
        </p:nvSpPr>
        <p:spPr>
          <a:xfrm>
            <a:off x="442135" y="4099365"/>
            <a:ext cx="572393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b="1" dirty="0"/>
              <a:t>Intensive margin </a:t>
            </a:r>
            <a:r>
              <a:rPr lang="en-NZ" dirty="0"/>
              <a:t>response to benefit abate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dirty="0"/>
              <a:t>COVID benefit change.</a:t>
            </a:r>
            <a:br>
              <a:rPr lang="en-NZ" dirty="0"/>
            </a:b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1954071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01413"/>
            <a:ext cx="11459365" cy="700597"/>
          </a:xfrm>
        </p:spPr>
        <p:txBody>
          <a:bodyPr/>
          <a:lstStyle/>
          <a:p>
            <a:r>
              <a:rPr lang="en-US"/>
              <a:t>Do beneficiaries “bunch” at the abatement threshold?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7346915" y="2036731"/>
            <a:ext cx="458619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No bunching – implies no intensive margin response to EMTR rise from 0% to 50%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imilar results using DOMINO </a:t>
            </a:r>
            <a:br>
              <a:rPr lang="en-US"/>
            </a:br>
            <a:r>
              <a:rPr lang="en-US"/>
              <a:t>and other periods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imilar lack of bunching found overseas.</a:t>
            </a:r>
            <a:endParaRPr lang="en-NZ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939FDB-D0F2-4B27-3ACC-F22676365B50}"/>
              </a:ext>
            </a:extLst>
          </p:cNvPr>
          <p:cNvSpPr txBox="1"/>
          <p:nvPr/>
        </p:nvSpPr>
        <p:spPr>
          <a:xfrm>
            <a:off x="370417" y="4959187"/>
            <a:ext cx="102898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Potential role of mutual obligations: </a:t>
            </a:r>
            <a:r>
              <a:rPr lang="en-US"/>
              <a:t>Negative EMTR if benefit receipt relies on taking up a job.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D8C587-8222-5F6B-0782-FB6E01FC4A8F}"/>
              </a:ext>
            </a:extLst>
          </p:cNvPr>
          <p:cNvSpPr txBox="1"/>
          <p:nvPr/>
        </p:nvSpPr>
        <p:spPr>
          <a:xfrm>
            <a:off x="370417" y="5669914"/>
            <a:ext cx="52517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“Extensive” participation margin is missing!</a:t>
            </a:r>
            <a:endParaRPr lang="en-NZ" b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9F39BCB-1996-7219-49C3-FD562DBC8C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247" y="1701256"/>
            <a:ext cx="6933563" cy="273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2472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tensive Margin: COVID Benefit Changes (early stage work)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2864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Aim for release early-2025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28422"/>
            <a:ext cx="8526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Did the COVID supplement reduce labour market search/labour supply?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477994" y="2117224"/>
            <a:ext cx="10827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Borland (2020) – no appreciable difference in job-finding rates after benefit increase (ex March 2020)</a:t>
            </a:r>
            <a:endParaRPr lang="en-NZ"/>
          </a:p>
        </p:txBody>
      </p:sp>
      <p:pic>
        <p:nvPicPr>
          <p:cNvPr id="5" name="Picture 4" descr="A graph of a number of people with different colored lines&#10;&#10;Description automatically generated">
            <a:extLst>
              <a:ext uri="{FF2B5EF4-FFF2-40B4-BE49-F238E27FC236}">
                <a16:creationId xmlns:a16="http://schemas.microsoft.com/office/drawing/2014/main" id="{D424E065-615F-8706-1F2F-E58E9102FA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4477" y="3135739"/>
            <a:ext cx="3433394" cy="350346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C105FC2-8CFB-1C59-BAEF-A7B565404FD4}"/>
              </a:ext>
            </a:extLst>
          </p:cNvPr>
          <p:cNvSpPr txBox="1"/>
          <p:nvPr/>
        </p:nvSpPr>
        <p:spPr>
          <a:xfrm>
            <a:off x="477993" y="2535427"/>
            <a:ext cx="74529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hat about announcement effects using high frequency (STP) data?</a:t>
            </a:r>
            <a:endParaRPr lang="en-NZ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CFBB793-ECE6-B96D-5E41-314087163C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67159" y="3135739"/>
            <a:ext cx="3466604" cy="3297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569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19777946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lessons</a:t>
            </a:r>
            <a:endParaRPr lang="en-A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73F7A8-E740-D775-F5E5-2CB53D84C18F}"/>
              </a:ext>
            </a:extLst>
          </p:cNvPr>
          <p:cNvSpPr txBox="1"/>
          <p:nvPr/>
        </p:nvSpPr>
        <p:spPr>
          <a:xfrm flipH="1">
            <a:off x="598813" y="2041739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Other lessons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0A2F4A-0C3E-AF4A-22B7-A2FAEF821371}"/>
              </a:ext>
            </a:extLst>
          </p:cNvPr>
          <p:cNvSpPr txBox="1"/>
          <p:nvPr/>
        </p:nvSpPr>
        <p:spPr>
          <a:xfrm flipH="1">
            <a:off x="778313" y="2505670"/>
            <a:ext cx="99987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levated job loss expectations explain part of the decli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Voluntarily displaced individuals, and individuals who don’t take up benefits, experience smaller declin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ork related expenses appear to explain most of the initial decline in expenditu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565D1D-091E-27D7-AE4A-367E69FA18FB}"/>
              </a:ext>
            </a:extLst>
          </p:cNvPr>
          <p:cNvSpPr txBox="1"/>
          <p:nvPr/>
        </p:nvSpPr>
        <p:spPr>
          <a:xfrm flipH="1">
            <a:off x="598813" y="11658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General findings for Australia</a:t>
            </a:r>
            <a:r>
              <a:rPr lang="en-US"/>
              <a:t>: Expenditure declines persistently – by about 10% - following the experience of job loss.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D2FD87-28FB-CB85-62D9-2244A4682AA4}"/>
              </a:ext>
            </a:extLst>
          </p:cNvPr>
          <p:cNvSpPr txBox="1"/>
          <p:nvPr/>
        </p:nvSpPr>
        <p:spPr>
          <a:xfrm flipH="1">
            <a:off x="778313" y="5069802"/>
            <a:ext cx="99987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Limited </a:t>
            </a:r>
            <a:r>
              <a:rPr lang="en-US" i="1"/>
              <a:t>intensive margin</a:t>
            </a:r>
            <a:r>
              <a:rPr lang="en-US"/>
              <a:t> responses to benefit abatement (mirroring overseas result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ome evidence of changes in speed of reemployment (extensive margin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atch quality and the role of mutual obligations future areas of interes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149E8C-EBDB-8469-9D24-152C568EF14F}"/>
              </a:ext>
            </a:extLst>
          </p:cNvPr>
          <p:cNvSpPr txBox="1"/>
          <p:nvPr/>
        </p:nvSpPr>
        <p:spPr>
          <a:xfrm flipH="1">
            <a:off x="598813" y="4676441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Early labour supply work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81456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A7A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>
                <a:solidFill>
                  <a:srgbClr val="004F54"/>
                </a:solidFill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5403484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3D8A70-50BD-472D-5505-A94FE03FFD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BFBF25-456A-9D02-98D8-C79C11FA9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Event study approach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13AB23-C8B7-4194-0EEC-D3F4BD2F2204}"/>
                  </a:ext>
                </a:extLst>
              </p:cNvPr>
              <p:cNvSpPr txBox="1"/>
              <p:nvPr/>
            </p:nvSpPr>
            <p:spPr>
              <a:xfrm>
                <a:off x="2584826" y="3365233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3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13AB23-C8B7-4194-0EEC-D3F4BD2F2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4826" y="3365233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3D0828D4-01EC-9FAC-D4AC-B77632D30AC7}"/>
              </a:ext>
            </a:extLst>
          </p:cNvPr>
          <p:cNvSpPr txBox="1"/>
          <p:nvPr/>
        </p:nvSpPr>
        <p:spPr>
          <a:xfrm>
            <a:off x="472632" y="4471007"/>
            <a:ext cx="108981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Here an individual's wage income in a given year is a function of time varying observable characteristics, </a:t>
            </a:r>
            <a:br>
              <a:rPr lang="en-US"/>
            </a:br>
            <a:r>
              <a:rPr lang="en-US"/>
              <a:t>time invariant characteristics, calendar time effects, and an idiosyncratic error term. </a:t>
            </a:r>
            <a:endParaRPr lang="en-A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C1B56D-9A70-7FFB-31C1-C6162449BA69}"/>
                  </a:ext>
                </a:extLst>
              </p:cNvPr>
              <p:cNvSpPr txBox="1"/>
              <p:nvPr/>
            </p:nvSpPr>
            <p:spPr>
              <a:xfrm>
                <a:off x="461990" y="5218117"/>
                <a:ext cx="7855292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AU"/>
                  <a:t> is our parameter of interest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/>
                  <a:t>For </a:t>
                </a:r>
                <a:r>
                  <a:rPr lang="en-AU" i="1"/>
                  <a:t>k &lt; 0</a:t>
                </a:r>
                <a:r>
                  <a:rPr lang="en-AU"/>
                  <a:t> we will want to see coefficient values close to zero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/>
                  <a:t>For </a:t>
                </a:r>
                <a:r>
                  <a:rPr lang="en-AU" i="1"/>
                  <a:t>k &gt;= 1</a:t>
                </a:r>
                <a:r>
                  <a:rPr lang="en-AU"/>
                  <a:t> we have as estimate of the wage scar </a:t>
                </a:r>
                <a:r>
                  <a:rPr lang="en-AU" i="1"/>
                  <a:t>k</a:t>
                </a:r>
                <a:r>
                  <a:rPr lang="en-AU"/>
                  <a:t> periods in the future.</a:t>
                </a: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C1B56D-9A70-7FFB-31C1-C6162449BA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990" y="5218117"/>
                <a:ext cx="7855292" cy="923330"/>
              </a:xfrm>
              <a:prstGeom prst="rect">
                <a:avLst/>
              </a:prstGeom>
              <a:blipFill>
                <a:blip r:embed="rId3"/>
                <a:stretch>
                  <a:fillRect l="-543" t="-3974" r="-776" b="-993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ACFEF132-E7E4-8F7E-45EE-B907476B84F9}"/>
              </a:ext>
            </a:extLst>
          </p:cNvPr>
          <p:cNvSpPr txBox="1"/>
          <p:nvPr/>
        </p:nvSpPr>
        <p:spPr>
          <a:xfrm>
            <a:off x="362218" y="1062954"/>
            <a:ext cx="1154687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The base event studies (unless a TWFE approach is listed) use a Sun and Abraham (2020) interaction-weighted</a:t>
            </a:r>
            <a:br>
              <a:rPr lang="en-US"/>
            </a:br>
            <a:r>
              <a:rPr lang="en-US"/>
              <a:t>event study approach.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70B797-A42F-EC87-4992-233B5C0EA0A5}"/>
              </a:ext>
            </a:extLst>
          </p:cNvPr>
          <p:cNvSpPr txBox="1"/>
          <p:nvPr/>
        </p:nvSpPr>
        <p:spPr>
          <a:xfrm>
            <a:off x="370417" y="2081565"/>
            <a:ext cx="1244924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Rewrite below as it is based on individual </a:t>
            </a:r>
            <a:r>
              <a:rPr lang="en-US" b="1" err="1"/>
              <a:t>gTTEs</a:t>
            </a:r>
            <a:r>
              <a:rPr lang="en-US" b="1"/>
              <a:t>, but for this we can just talk about the interaction-based </a:t>
            </a:r>
            <a:br>
              <a:rPr lang="en-US" b="1"/>
            </a:br>
            <a:r>
              <a:rPr lang="en-US" b="1"/>
              <a:t>estimation and use of never treated individuals as controls.</a:t>
            </a:r>
            <a:endParaRPr lang="en-AU" b="1"/>
          </a:p>
        </p:txBody>
      </p:sp>
    </p:spTree>
    <p:extLst>
      <p:ext uri="{BB962C8B-B14F-4D97-AF65-F5344CB8AC3E}">
        <p14:creationId xmlns:p14="http://schemas.microsoft.com/office/powerpoint/2010/main" val="708954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350302-61EC-CA65-C115-C03F34C3D4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6E2AAB-F162-1550-CE6F-C70A9BAFAA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6E2AAB-F162-1550-CE6F-C70A9BAFA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9FFF2F7D-911A-54A5-00C9-5F2668C7B8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/>
              <a:t>Appendix K: Result comparison across international studies</a:t>
            </a:r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37EE9C4-0CE6-29E2-8BA9-C009D08C3D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154792"/>
            <a:ext cx="5400675" cy="540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78455156-FF19-648F-126A-8DF264687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480" y="1586558"/>
            <a:ext cx="5831520" cy="4537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129008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Income scarring from job loss for non-benefit recipi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153193"/>
            <a:ext cx="91743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Individual wages and household incomes drop persistently following job loss.</a:t>
            </a:r>
            <a:endParaRPr lang="en-AU" b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FDD5FF-4FC7-FDBA-F233-BDF01F5AF1B4}"/>
              </a:ext>
            </a:extLst>
          </p:cNvPr>
          <p:cNvSpPr txBox="1"/>
          <p:nvPr/>
        </p:nvSpPr>
        <p:spPr>
          <a:xfrm>
            <a:off x="2721777" y="1685763"/>
            <a:ext cx="4999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Staggered Event Study – non-benefit recipients</a:t>
            </a:r>
            <a:endParaRPr lang="en-AU" i="1"/>
          </a:p>
        </p:txBody>
      </p:sp>
      <p:pic>
        <p:nvPicPr>
          <p:cNvPr id="17" name="Picture 16" descr="A graph with a line graph&#10;&#10;Description automatically generated">
            <a:extLst>
              <a:ext uri="{FF2B5EF4-FFF2-40B4-BE49-F238E27FC236}">
                <a16:creationId xmlns:a16="http://schemas.microsoft.com/office/drawing/2014/main" id="{5B808C72-153B-2EE8-88DB-E64A024B1A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044" y="2252805"/>
            <a:ext cx="3904628" cy="2868706"/>
          </a:xfrm>
          <a:prstGeom prst="rect">
            <a:avLst/>
          </a:prstGeom>
        </p:spPr>
      </p:pic>
      <p:pic>
        <p:nvPicPr>
          <p:cNvPr id="25" name="Picture 24" descr="A graph of a graph showing the amount of loss of a person&#10;&#10;Description automatically generated with medium confidence">
            <a:extLst>
              <a:ext uri="{FF2B5EF4-FFF2-40B4-BE49-F238E27FC236}">
                <a16:creationId xmlns:a16="http://schemas.microsoft.com/office/drawing/2014/main" id="{319B01F2-C309-B154-5AAD-0D4201FF04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266" y="2186645"/>
            <a:ext cx="4136297" cy="306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262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88E335-77CC-24D5-229C-EE8BD32BF9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253627-C8E9-3DEB-8A8D-FAE5078EF0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F5044A-2EEA-7A7C-9ED5-E6A060C84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7" y="484222"/>
            <a:ext cx="11459365" cy="700597"/>
          </a:xfrm>
        </p:spPr>
        <p:txBody>
          <a:bodyPr/>
          <a:lstStyle/>
          <a:p>
            <a:r>
              <a:rPr lang="en-AU"/>
              <a:t>Insurance and optimal benefi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B69EDA-403D-3597-98E3-F6DA3F5E181E}"/>
              </a:ext>
            </a:extLst>
          </p:cNvPr>
          <p:cNvSpPr txBox="1"/>
          <p:nvPr/>
        </p:nvSpPr>
        <p:spPr>
          <a:xfrm>
            <a:off x="362218" y="1280818"/>
            <a:ext cx="9487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Permanent income hypothesis (PIH) – </a:t>
            </a:r>
            <a:r>
              <a:rPr lang="en-US" dirty="0"/>
              <a:t>if job loss is a </a:t>
            </a:r>
            <a:r>
              <a:rPr lang="en-US" b="1" i="1" dirty="0"/>
              <a:t>temporary</a:t>
            </a:r>
            <a:r>
              <a:rPr lang="en-US" b="1" dirty="0"/>
              <a:t> </a:t>
            </a:r>
            <a:r>
              <a:rPr lang="en-US" dirty="0"/>
              <a:t>income shock there </a:t>
            </a:r>
          </a:p>
          <a:p>
            <a:r>
              <a:rPr lang="en-US"/>
              <a:t>should be a</a:t>
            </a:r>
            <a:r>
              <a:rPr lang="en-US" b="1"/>
              <a:t> </a:t>
            </a:r>
            <a:r>
              <a:rPr lang="en-US" b="1" i="1"/>
              <a:t>limited</a:t>
            </a:r>
            <a:r>
              <a:rPr lang="en-US" b="1"/>
              <a:t> </a:t>
            </a:r>
            <a:r>
              <a:rPr lang="en-US"/>
              <a:t>change in consumption.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A943B2-54A1-5751-C872-5A03AA13368A}"/>
              </a:ext>
            </a:extLst>
          </p:cNvPr>
          <p:cNvSpPr txBox="1"/>
          <p:nvPr/>
        </p:nvSpPr>
        <p:spPr>
          <a:xfrm>
            <a:off x="362218" y="2153192"/>
            <a:ext cx="89656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f individuals can </a:t>
            </a:r>
            <a:r>
              <a:rPr lang="en-US" b="1"/>
              <a:t>perfectly insure</a:t>
            </a:r>
            <a:r>
              <a:rPr lang="en-US"/>
              <a:t> against job loss risk, there should be no change in consumption from job loss.</a:t>
            </a:r>
            <a:endParaRPr lang="en-AU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180EE26-7D26-38D9-1745-499717CDFDA8}"/>
              </a:ext>
            </a:extLst>
          </p:cNvPr>
          <p:cNvCxnSpPr/>
          <p:nvPr/>
        </p:nvCxnSpPr>
        <p:spPr>
          <a:xfrm>
            <a:off x="548640" y="3429000"/>
            <a:ext cx="804672" cy="0"/>
          </a:xfrm>
          <a:prstGeom prst="straightConnector1">
            <a:avLst/>
          </a:prstGeom>
          <a:ln w="7620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506B555F-1D57-1E21-CB46-7D91C31EA066}"/>
              </a:ext>
            </a:extLst>
          </p:cNvPr>
          <p:cNvSpPr txBox="1"/>
          <p:nvPr/>
        </p:nvSpPr>
        <p:spPr>
          <a:xfrm>
            <a:off x="1709928" y="3105834"/>
            <a:ext cx="49064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nsumption changes can be used to understand more about the nature of job loss.</a:t>
            </a:r>
            <a:endParaRPr lang="en-A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BFA5001-EF63-D156-92B9-FA8D440577ED}"/>
              </a:ext>
            </a:extLst>
          </p:cNvPr>
          <p:cNvSpPr txBox="1"/>
          <p:nvPr/>
        </p:nvSpPr>
        <p:spPr>
          <a:xfrm>
            <a:off x="362219" y="5016010"/>
            <a:ext cx="63677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Baily-Chetty result</a:t>
            </a:r>
            <a:r>
              <a:rPr lang="en-US" dirty="0"/>
              <a:t>: Consumption response to job loss can be used to calculate the </a:t>
            </a:r>
            <a:r>
              <a:rPr lang="en-US" i="1" dirty="0"/>
              <a:t>optimal benefit level</a:t>
            </a:r>
            <a:r>
              <a:rPr lang="en-US" dirty="0"/>
              <a:t> (along with an estimate of </a:t>
            </a:r>
            <a:r>
              <a:rPr lang="en-US" b="1" i="1" dirty="0" err="1"/>
              <a:t>labour</a:t>
            </a:r>
            <a:r>
              <a:rPr lang="en-US" b="1" i="1" dirty="0"/>
              <a:t> supply responses</a:t>
            </a:r>
            <a:r>
              <a:rPr lang="en-US" dirty="0"/>
              <a:t>).</a:t>
            </a:r>
            <a:endParaRPr lang="en-A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760D4E-FB68-D9A9-3A20-E529F74579B5}"/>
              </a:ext>
            </a:extLst>
          </p:cNvPr>
          <p:cNvSpPr txBox="1"/>
          <p:nvPr/>
        </p:nvSpPr>
        <p:spPr>
          <a:xfrm>
            <a:off x="362219" y="4111288"/>
            <a:ext cx="6724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idence of government and family insurance against income shocks in general (Tin and Tran 2023).</a:t>
            </a:r>
            <a:endParaRPr lang="en-AU" dirty="0"/>
          </a:p>
        </p:txBody>
      </p:sp>
      <p:pic>
        <p:nvPicPr>
          <p:cNvPr id="12" name="Picture 11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C421AD4F-4E0D-ABB2-59DE-2FCA2CD464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0723" y="2907792"/>
            <a:ext cx="4608493" cy="3354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072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9" grpId="0"/>
      <p:bldP spid="1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Recap: Income scarring from job los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153193"/>
            <a:ext cx="91743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Individual wages and household incomes drop persistently following job loss.</a:t>
            </a:r>
            <a:endParaRPr lang="en-AU" b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C22342-9C1C-D324-F5DA-9A83E1E71253}"/>
              </a:ext>
            </a:extLst>
          </p:cNvPr>
          <p:cNvSpPr txBox="1"/>
          <p:nvPr/>
        </p:nvSpPr>
        <p:spPr>
          <a:xfrm>
            <a:off x="370417" y="5289308"/>
            <a:ext cx="93242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However, if this is a </a:t>
            </a:r>
            <a:r>
              <a:rPr lang="en-US" b="1"/>
              <a:t>temporary drop in household income</a:t>
            </a:r>
            <a:r>
              <a:rPr lang="en-US"/>
              <a:t>, we wouldn’t expect much </a:t>
            </a:r>
            <a:br>
              <a:rPr lang="en-US"/>
            </a:br>
            <a:r>
              <a:rPr lang="en-US"/>
              <a:t>of a change in consumption.</a:t>
            </a:r>
            <a:endParaRPr lang="en-AU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FDD5FF-4FC7-FDBA-F233-BDF01F5AF1B4}"/>
              </a:ext>
            </a:extLst>
          </p:cNvPr>
          <p:cNvSpPr txBox="1"/>
          <p:nvPr/>
        </p:nvSpPr>
        <p:spPr>
          <a:xfrm>
            <a:off x="3187011" y="1669919"/>
            <a:ext cx="52032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Staggered Event Study (for consumption sample)</a:t>
            </a:r>
            <a:endParaRPr lang="en-AU" i="1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5BDEC08-11C3-40E6-2D82-020183E649E7}"/>
              </a:ext>
            </a:extLst>
          </p:cNvPr>
          <p:cNvSpPr txBox="1"/>
          <p:nvPr/>
        </p:nvSpPr>
        <p:spPr>
          <a:xfrm>
            <a:off x="370417" y="6045038"/>
            <a:ext cx="101070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Implications for the “optimal” benefit level and coverage depend on how consumption will change.</a:t>
            </a:r>
            <a:endParaRPr lang="en-AU" b="1"/>
          </a:p>
        </p:txBody>
      </p:sp>
      <p:pic>
        <p:nvPicPr>
          <p:cNvPr id="28" name="Picture 27" descr="A graph with lines and numbers&#10;&#10;Description automatically generated">
            <a:extLst>
              <a:ext uri="{FF2B5EF4-FFF2-40B4-BE49-F238E27FC236}">
                <a16:creationId xmlns:a16="http://schemas.microsoft.com/office/drawing/2014/main" id="{EB67F23E-D581-0647-42F1-B01A991DB7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8459" y="2278255"/>
            <a:ext cx="3897758" cy="2863659"/>
          </a:xfrm>
          <a:prstGeom prst="rect">
            <a:avLst/>
          </a:prstGeom>
        </p:spPr>
      </p:pic>
      <p:pic>
        <p:nvPicPr>
          <p:cNvPr id="30" name="Picture 29" descr="A graph of a graph showing a graph of a scar&#10;&#10;Description automatically generated with medium confidence">
            <a:extLst>
              <a:ext uri="{FF2B5EF4-FFF2-40B4-BE49-F238E27FC236}">
                <a16:creationId xmlns:a16="http://schemas.microsoft.com/office/drawing/2014/main" id="{FE923742-34B5-6F05-1A18-1AD5FD22E1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7198" y="2303030"/>
            <a:ext cx="3897758" cy="2863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668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5" grpId="0"/>
      <p:bldP spid="2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lessons</a:t>
            </a:r>
            <a:endParaRPr lang="en-A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73F7A8-E740-D775-F5E5-2CB53D84C18F}"/>
              </a:ext>
            </a:extLst>
          </p:cNvPr>
          <p:cNvSpPr txBox="1"/>
          <p:nvPr/>
        </p:nvSpPr>
        <p:spPr>
          <a:xfrm flipH="1">
            <a:off x="598813" y="2041739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Other lessons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0A2F4A-0C3E-AF4A-22B7-A2FAEF821371}"/>
              </a:ext>
            </a:extLst>
          </p:cNvPr>
          <p:cNvSpPr txBox="1"/>
          <p:nvPr/>
        </p:nvSpPr>
        <p:spPr>
          <a:xfrm flipH="1">
            <a:off x="778313" y="2505670"/>
            <a:ext cx="99987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levated job loss expectations explain part of the decli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Voluntarily displaced individuals, and individuals who don’t take up benefits, experience smaller declin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ork related expenses appear to explain most of the initial decline in expenditu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565D1D-091E-27D7-AE4A-367E69FA18FB}"/>
              </a:ext>
            </a:extLst>
          </p:cNvPr>
          <p:cNvSpPr txBox="1"/>
          <p:nvPr/>
        </p:nvSpPr>
        <p:spPr>
          <a:xfrm flipH="1">
            <a:off x="598813" y="11658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General findings for Australia</a:t>
            </a:r>
            <a:r>
              <a:rPr lang="en-US"/>
              <a:t>: Expenditure declines persistently – by about 10% - following the experience of job loss.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D2FD87-28FB-CB85-62D9-2244A4682AA4}"/>
              </a:ext>
            </a:extLst>
          </p:cNvPr>
          <p:cNvSpPr txBox="1"/>
          <p:nvPr/>
        </p:nvSpPr>
        <p:spPr>
          <a:xfrm flipH="1">
            <a:off x="778313" y="5069802"/>
            <a:ext cx="99987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Limited </a:t>
            </a:r>
            <a:r>
              <a:rPr lang="en-US" i="1"/>
              <a:t>intensive margin</a:t>
            </a:r>
            <a:r>
              <a:rPr lang="en-US"/>
              <a:t> responses to benefit abatement (mirroring overseas result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ome evidence of changes in speed of reemployment (extensive margin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atch quality and the role of mutual obligations future areas of interes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149E8C-EBDB-8469-9D24-152C568EF14F}"/>
              </a:ext>
            </a:extLst>
          </p:cNvPr>
          <p:cNvSpPr txBox="1"/>
          <p:nvPr/>
        </p:nvSpPr>
        <p:spPr>
          <a:xfrm flipH="1">
            <a:off x="598813" y="4676441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Early labour supply work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29657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B7AF907-8A14-E228-78C5-14BFBCDD51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Measuring a consumption scar?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311274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80D947-852C-5703-7D12-9EF4E44FAF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66C74E-DDBC-A68F-D514-64451BBCF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770" y="477163"/>
            <a:ext cx="11459365" cy="700597"/>
          </a:xfrm>
        </p:spPr>
        <p:txBody>
          <a:bodyPr/>
          <a:lstStyle/>
          <a:p>
            <a:r>
              <a:rPr lang="en-US"/>
              <a:t>Why would expenditure change after job loss?</a:t>
            </a:r>
            <a:endParaRPr lang="en-NZ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3A5AD16-8007-0884-38B6-C1F95861AE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8818789"/>
              </p:ext>
            </p:extLst>
          </p:nvPr>
        </p:nvGraphicFramePr>
        <p:xfrm>
          <a:off x="2926498" y="94852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Graphic 6" descr="Man wearing hat and suit">
            <a:extLst>
              <a:ext uri="{FF2B5EF4-FFF2-40B4-BE49-F238E27FC236}">
                <a16:creationId xmlns:a16="http://schemas.microsoft.com/office/drawing/2014/main" id="{B6AD4742-4E44-6801-2F10-F1BCBF3B18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5312" y="1429009"/>
            <a:ext cx="1533525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5266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sumption Scar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110678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Scars controlling for personal characteristics and income. Additionally controlling for subjective job loss risk.</a:t>
            </a:r>
            <a:endParaRPr lang="en-NZ" i="1"/>
          </a:p>
        </p:txBody>
      </p:sp>
      <p:pic>
        <p:nvPicPr>
          <p:cNvPr id="11" name="Picture 10" descr="A graph of a graph with numbers and a line&#10;&#10;Description automatically generated with medium confidence">
            <a:extLst>
              <a:ext uri="{FF2B5EF4-FFF2-40B4-BE49-F238E27FC236}">
                <a16:creationId xmlns:a16="http://schemas.microsoft.com/office/drawing/2014/main" id="{F88C4AD0-F8CC-CE10-32F8-C60E6FAC8A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568" y="1846602"/>
            <a:ext cx="4687536" cy="3619288"/>
          </a:xfrm>
          <a:prstGeom prst="rect">
            <a:avLst/>
          </a:prstGeom>
        </p:spPr>
      </p:pic>
      <p:pic>
        <p:nvPicPr>
          <p:cNvPr id="14" name="Picture 13" descr="A graph of a graph with blue lines&#10;&#10;Description automatically generated">
            <a:extLst>
              <a:ext uri="{FF2B5EF4-FFF2-40B4-BE49-F238E27FC236}">
                <a16:creationId xmlns:a16="http://schemas.microsoft.com/office/drawing/2014/main" id="{D1280FDF-2F18-61E3-65A2-FEE9A92513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0999" y="1910490"/>
            <a:ext cx="4839294" cy="3555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1AE7717-0778-6DEF-AAE3-F2308F7C36F1}"/>
              </a:ext>
            </a:extLst>
          </p:cNvPr>
          <p:cNvSpPr txBox="1"/>
          <p:nvPr/>
        </p:nvSpPr>
        <p:spPr>
          <a:xfrm>
            <a:off x="401573" y="6031674"/>
            <a:ext cx="94307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Future job-loss risk only explains a small amount of the decline in consumption.</a:t>
            </a:r>
            <a:endParaRPr lang="en-NZ" b="1"/>
          </a:p>
        </p:txBody>
      </p:sp>
    </p:spTree>
    <p:extLst>
      <p:ext uri="{BB962C8B-B14F-4D97-AF65-F5344CB8AC3E}">
        <p14:creationId xmlns:p14="http://schemas.microsoft.com/office/powerpoint/2010/main" val="32524169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ype of unemployment scar</a:t>
            </a:r>
            <a:endParaRPr lang="en-NZ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4A0829-F4DD-B318-F6B6-C1D7A7CBEFEC}"/>
              </a:ext>
            </a:extLst>
          </p:cNvPr>
          <p:cNvSpPr txBox="1"/>
          <p:nvPr/>
        </p:nvSpPr>
        <p:spPr>
          <a:xfrm>
            <a:off x="1723943" y="1401234"/>
            <a:ext cx="2505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206166"/>
                </a:solidFill>
              </a:rPr>
              <a:t>Involuntary job loss</a:t>
            </a:r>
            <a:endParaRPr lang="en-NZ" b="1">
              <a:solidFill>
                <a:srgbClr val="206166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990D069-5386-8415-B25F-45B3B3C5A687}"/>
              </a:ext>
            </a:extLst>
          </p:cNvPr>
          <p:cNvSpPr txBox="1"/>
          <p:nvPr/>
        </p:nvSpPr>
        <p:spPr>
          <a:xfrm>
            <a:off x="7962245" y="1423682"/>
            <a:ext cx="22685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206166"/>
                </a:solidFill>
              </a:rPr>
              <a:t>Voluntary job loss</a:t>
            </a:r>
            <a:endParaRPr lang="en-NZ" b="1">
              <a:solidFill>
                <a:srgbClr val="206166"/>
              </a:solidFill>
            </a:endParaRPr>
          </a:p>
        </p:txBody>
      </p:sp>
      <p:pic>
        <p:nvPicPr>
          <p:cNvPr id="19" name="Picture 18" descr="A graph with a line graph and text&#10;&#10;Description automatically generated">
            <a:extLst>
              <a:ext uri="{FF2B5EF4-FFF2-40B4-BE49-F238E27FC236}">
                <a16:creationId xmlns:a16="http://schemas.microsoft.com/office/drawing/2014/main" id="{34DD4142-BE3C-B575-CE49-80F690A89B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953" y="2214468"/>
            <a:ext cx="4640642" cy="3583081"/>
          </a:xfrm>
          <a:prstGeom prst="rect">
            <a:avLst/>
          </a:prstGeom>
        </p:spPr>
      </p:pic>
      <p:pic>
        <p:nvPicPr>
          <p:cNvPr id="21" name="Picture 20" descr="A graph with a line graph and numbers&#10;&#10;Description automatically generated">
            <a:extLst>
              <a:ext uri="{FF2B5EF4-FFF2-40B4-BE49-F238E27FC236}">
                <a16:creationId xmlns:a16="http://schemas.microsoft.com/office/drawing/2014/main" id="{F5BF8585-16E4-E86A-F1FE-270785F685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3169" y="2287688"/>
            <a:ext cx="4640641" cy="3583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1781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17d282f-583c-4187-bacc-d7073644b746" xsi:nil="true"/>
    <lcf76f155ced4ddcb4097134ff3c332f xmlns="6c454ab8-65ae-4d3a-ba75-39d5f796b864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D427605B2E3184A8DD5351DD5A4E365" ma:contentTypeVersion="12" ma:contentTypeDescription="Create a new document." ma:contentTypeScope="" ma:versionID="4c9787c4a95524a945545efc953f5a50">
  <xsd:schema xmlns:xsd="http://www.w3.org/2001/XMLSchema" xmlns:xs="http://www.w3.org/2001/XMLSchema" xmlns:p="http://schemas.microsoft.com/office/2006/metadata/properties" xmlns:ns2="6c454ab8-65ae-4d3a-ba75-39d5f796b864" xmlns:ns3="c17d282f-583c-4187-bacc-d7073644b746" targetNamespace="http://schemas.microsoft.com/office/2006/metadata/properties" ma:root="true" ma:fieldsID="a0e91b7bdda02efb5b084bd52153b7ff" ns2:_="" ns3:_="">
    <xsd:import namespace="6c454ab8-65ae-4d3a-ba75-39d5f796b864"/>
    <xsd:import namespace="c17d282f-583c-4187-bacc-d7073644b7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454ab8-65ae-4d3a-ba75-39d5f796b8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7d282f-583c-4187-bacc-d7073644b74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4aa90806-54a7-4bcd-88f4-acde02912f6c}" ma:internalName="TaxCatchAll" ma:showField="CatchAllData" ma:web="c17d282f-583c-4187-bacc-d7073644b7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E36B762-179B-48EA-90B2-E74079BA15DE}">
  <ds:schemaRefs>
    <ds:schemaRef ds:uri="http://www.w3.org/XML/1998/namespace"/>
    <ds:schemaRef ds:uri="http://schemas.microsoft.com/office/2006/documentManagement/types"/>
    <ds:schemaRef ds:uri="http://purl.org/dc/dcmitype/"/>
    <ds:schemaRef ds:uri="http://purl.org/dc/elements/1.1/"/>
    <ds:schemaRef ds:uri="6c454ab8-65ae-4d3a-ba75-39d5f796b864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c17d282f-583c-4187-bacc-d7073644b746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71042647-F30F-4E3D-A70D-C55D43BF2E36}">
  <ds:schemaRefs>
    <ds:schemaRef ds:uri="6c454ab8-65ae-4d3a-ba75-39d5f796b864"/>
    <ds:schemaRef ds:uri="c17d282f-583c-4187-bacc-d7073644b74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</Template>
  <TotalTime>4905</TotalTime>
  <Words>1340</Words>
  <Application>Microsoft Office PowerPoint</Application>
  <PresentationFormat>Widescreen</PresentationFormat>
  <Paragraphs>160</Paragraphs>
  <Slides>2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7" baseType="lpstr">
      <vt:lpstr>Arial</vt:lpstr>
      <vt:lpstr>Calibri</vt:lpstr>
      <vt:lpstr>Cambria Math</vt:lpstr>
      <vt:lpstr>Graphik</vt:lpstr>
      <vt:lpstr>GT Sectra Fine</vt:lpstr>
      <vt:lpstr>Proxima Nova Rg</vt:lpstr>
      <vt:lpstr>System Font</vt:lpstr>
      <vt:lpstr>e61 slide master</vt:lpstr>
      <vt:lpstr>think-cell Slide</vt:lpstr>
      <vt:lpstr>Consumption, job loss, and benefits</vt:lpstr>
      <vt:lpstr>Motivation</vt:lpstr>
      <vt:lpstr>Insurance and optimal benefits</vt:lpstr>
      <vt:lpstr>Recap: Income scarring from job loss</vt:lpstr>
      <vt:lpstr>Key lessons</vt:lpstr>
      <vt:lpstr>PowerPoint Presentation</vt:lpstr>
      <vt:lpstr>Why would expenditure change after job loss?</vt:lpstr>
      <vt:lpstr>Consumption Scar</vt:lpstr>
      <vt:lpstr>Type of unemployment scar</vt:lpstr>
      <vt:lpstr>PowerPoint Presentation</vt:lpstr>
      <vt:lpstr>Individuals, government, determine whether you receive income support</vt:lpstr>
      <vt:lpstr>Benefit type</vt:lpstr>
      <vt:lpstr>PowerPoint Presentation</vt:lpstr>
      <vt:lpstr>Why would expenditure change after job loss?</vt:lpstr>
      <vt:lpstr>Work related expenses</vt:lpstr>
      <vt:lpstr>Work related expenses</vt:lpstr>
      <vt:lpstr>COVID Working from home</vt:lpstr>
      <vt:lpstr>COVID Working from home (early work)</vt:lpstr>
      <vt:lpstr>PowerPoint Presentation</vt:lpstr>
      <vt:lpstr>Insurance and labour supply</vt:lpstr>
      <vt:lpstr>Do beneficiaries “bunch” at the abatement threshold?</vt:lpstr>
      <vt:lpstr>Extensive Margin: COVID Benefit Changes (early stage work)</vt:lpstr>
      <vt:lpstr>PowerPoint Presentation</vt:lpstr>
      <vt:lpstr>Key lessons</vt:lpstr>
      <vt:lpstr>PowerPoint Presentation</vt:lpstr>
      <vt:lpstr>Event study approach</vt:lpstr>
      <vt:lpstr>Appendix K: Result comparison across international studies</vt:lpstr>
      <vt:lpstr>Income scarring from job loss for non-benefit recipi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 Nolan</dc:creator>
  <cp:lastModifiedBy>Matt Nolan</cp:lastModifiedBy>
  <cp:revision>4</cp:revision>
  <dcterms:created xsi:type="dcterms:W3CDTF">2024-01-15T03:02:27Z</dcterms:created>
  <dcterms:modified xsi:type="dcterms:W3CDTF">2024-11-17T08:4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D427605B2E3184A8DD5351DD5A4E365</vt:lpwstr>
  </property>
  <property fmtid="{D5CDD505-2E9C-101B-9397-08002B2CF9AE}" pid="3" name="MediaServiceImageTags">
    <vt:lpwstr/>
  </property>
</Properties>
</file>